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6.xml" ContentType="application/vnd.openxmlformats-officedocument.presentationml.tags+xml"/>
  <Default Extension="svg" ContentType="image/svg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7"/>
  </p:notesMasterIdLst>
  <p:sldIdLst>
    <p:sldId id="304" r:id="rId2"/>
    <p:sldId id="301" r:id="rId3"/>
    <p:sldId id="302" r:id="rId4"/>
    <p:sldId id="305" r:id="rId5"/>
    <p:sldId id="303" r:id="rId6"/>
  </p:sldIdLst>
  <p:sldSz cx="9144000" cy="5143500" type="screen16x9"/>
  <p:notesSz cx="6858000" cy="9144000"/>
  <p:defaultTextStyle>
    <a:defPPr lvl="0">
      <a:defRPr lang="ru-RU"/>
    </a:defPPr>
    <a:lvl1pPr marL="0" lv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lvl="1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lvl="2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lvl="3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lvl="4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lvl="5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lvl="6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lvl="7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lvl="8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45">
          <p15:clr>
            <a:srgbClr val="A4A3A4"/>
          </p15:clr>
        </p15:guide>
        <p15:guide id="2" pos="751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vertBarState="maximized">
    <p:restoredLeft sz="34587" autoAdjust="0"/>
    <p:restoredTop sz="94713" autoAdjust="0"/>
  </p:normalViewPr>
  <p:slideViewPr>
    <p:cSldViewPr snapToGrid="0">
      <p:cViewPr>
        <p:scale>
          <a:sx n="148" d="100"/>
          <a:sy n="148" d="100"/>
        </p:scale>
        <p:origin x="-612" y="-78"/>
      </p:cViewPr>
      <p:guideLst>
        <p:guide orient="horz" pos="634"/>
        <p:guide pos="56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AB4654-9626-4F2E-9FC6-9510A6A693A5}" type="datetimeFigureOut">
              <a:rPr lang="ru-RU" smtClean="0"/>
              <a:pPr/>
              <a:t>19.05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4ACFDF-7348-41DA-9EF9-D7BC1A36E44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3297117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Прямоугольник 186">
            <a:extLst>
              <a:ext uri="{FF2B5EF4-FFF2-40B4-BE49-F238E27FC236}">
                <a16:creationId xmlns:a16="http://schemas.microsoft.com/office/drawing/2014/main" xmlns="" id="{FAC46046-A13F-470D-9A63-AF76BAE6D36B}"/>
              </a:ext>
            </a:extLst>
          </p:cNvPr>
          <p:cNvSpPr/>
          <p:nvPr userDrawn="1"/>
        </p:nvSpPr>
        <p:spPr>
          <a:xfrm>
            <a:off x="0" y="4885029"/>
            <a:ext cx="9144000" cy="2584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pic>
        <p:nvPicPr>
          <p:cNvPr id="203" name="Рисунок 202">
            <a:extLst>
              <a:ext uri="{FF2B5EF4-FFF2-40B4-BE49-F238E27FC236}">
                <a16:creationId xmlns:a16="http://schemas.microsoft.com/office/drawing/2014/main" xmlns="" id="{46F6CD2D-455B-4AA6-B664-2856DC771F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rot="5400000">
            <a:off x="4833337" y="832837"/>
            <a:ext cx="5143499" cy="3477827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B3AC3F0A-03C0-440C-B09E-5BA2631577D9}"/>
              </a:ext>
            </a:extLst>
          </p:cNvPr>
          <p:cNvSpPr/>
          <p:nvPr userDrawn="1"/>
        </p:nvSpPr>
        <p:spPr>
          <a:xfrm>
            <a:off x="5204165" y="0"/>
            <a:ext cx="3939836" cy="5143500"/>
          </a:xfrm>
          <a:prstGeom prst="rect">
            <a:avLst/>
          </a:prstGeom>
          <a:gradFill flip="none" rotWithShape="1">
            <a:gsLst>
              <a:gs pos="23000">
                <a:schemeClr val="bg1"/>
              </a:gs>
              <a:gs pos="84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1927BAD-70BD-40C1-9B3F-441BBD87DC39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321581" y="1128132"/>
            <a:ext cx="6858000" cy="1790700"/>
          </a:xfrm>
        </p:spPr>
        <p:txBody>
          <a:bodyPr anchor="b">
            <a:normAutofit/>
          </a:bodyPr>
          <a:lstStyle>
            <a:lvl1pPr algn="l">
              <a:defRPr sz="30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7B4763A4-4C07-4899-B479-82EF9F79062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21581" y="2934044"/>
            <a:ext cx="6858000" cy="790826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dirty="0"/>
              <a:t>Подзаголовок/Докладчик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FDAEF56-1E7E-45B1-93CC-48992361C7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14228"/>
          <a:stretch/>
        </p:blipFill>
        <p:spPr>
          <a:xfrm>
            <a:off x="260431" y="191759"/>
            <a:ext cx="746567" cy="79082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2002630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BD1388F7-DD0E-4A42-A71D-EC8697C6D9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4988597"/>
            <a:ext cx="9144000" cy="154976"/>
          </a:xfrm>
          <a:prstGeom prst="rect">
            <a:avLst/>
          </a:prstGeom>
          <a:ln>
            <a:noFill/>
          </a:ln>
        </p:spPr>
      </p:pic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E6493E57-AB7C-4512-B587-91A5BA288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25B7FA35-208E-4F3A-9621-037F3C4EF0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47260"/>
            <a:ext cx="6372546" cy="541856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grpSp>
        <p:nvGrpSpPr>
          <p:cNvPr id="8" name="Group 159">
            <a:extLst>
              <a:ext uri="{FF2B5EF4-FFF2-40B4-BE49-F238E27FC236}">
                <a16:creationId xmlns:a16="http://schemas.microsoft.com/office/drawing/2014/main" xmlns="" id="{8A98CF5A-D970-40F0-BAF8-8A6F9147D914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78" y="605943"/>
            <a:ext cx="8023844" cy="4160767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11" name="Freeform 160">
              <a:extLst>
                <a:ext uri="{FF2B5EF4-FFF2-40B4-BE49-F238E27FC236}">
                  <a16:creationId xmlns:a16="http://schemas.microsoft.com/office/drawing/2014/main" xmlns="" id="{10FC935A-D332-4E0D-9294-E58BDECA509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161">
              <a:extLst>
                <a:ext uri="{FF2B5EF4-FFF2-40B4-BE49-F238E27FC236}">
                  <a16:creationId xmlns:a16="http://schemas.microsoft.com/office/drawing/2014/main" xmlns="" id="{553839A5-619E-4975-B2E3-77379CFD2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162">
              <a:extLst>
                <a:ext uri="{FF2B5EF4-FFF2-40B4-BE49-F238E27FC236}">
                  <a16:creationId xmlns:a16="http://schemas.microsoft.com/office/drawing/2014/main" xmlns="" id="{547C976D-BE36-40A7-8478-49ADC3A6251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Freeform 163">
              <a:extLst>
                <a:ext uri="{FF2B5EF4-FFF2-40B4-BE49-F238E27FC236}">
                  <a16:creationId xmlns:a16="http://schemas.microsoft.com/office/drawing/2014/main" xmlns="" id="{B6F7DC34-5AB6-4F86-8DA0-70C05388F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164">
              <a:extLst>
                <a:ext uri="{FF2B5EF4-FFF2-40B4-BE49-F238E27FC236}">
                  <a16:creationId xmlns:a16="http://schemas.microsoft.com/office/drawing/2014/main" xmlns="" id="{B22CBB69-264C-41FA-A253-64C001717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65">
              <a:extLst>
                <a:ext uri="{FF2B5EF4-FFF2-40B4-BE49-F238E27FC236}">
                  <a16:creationId xmlns:a16="http://schemas.microsoft.com/office/drawing/2014/main" xmlns="" id="{0C986E5E-7374-4B58-9249-3C015733B6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166">
              <a:extLst>
                <a:ext uri="{FF2B5EF4-FFF2-40B4-BE49-F238E27FC236}">
                  <a16:creationId xmlns:a16="http://schemas.microsoft.com/office/drawing/2014/main" xmlns="" id="{027BFC1B-4A84-4E3F-A911-41CBB7132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67">
              <a:extLst>
                <a:ext uri="{FF2B5EF4-FFF2-40B4-BE49-F238E27FC236}">
                  <a16:creationId xmlns:a16="http://schemas.microsoft.com/office/drawing/2014/main" xmlns="" id="{E2E7D74A-570F-4515-8734-557E837F9E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68">
              <a:extLst>
                <a:ext uri="{FF2B5EF4-FFF2-40B4-BE49-F238E27FC236}">
                  <a16:creationId xmlns:a16="http://schemas.microsoft.com/office/drawing/2014/main" xmlns="" id="{89F61953-73B7-4EF1-A742-900C6DE8B9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69">
              <a:extLst>
                <a:ext uri="{FF2B5EF4-FFF2-40B4-BE49-F238E27FC236}">
                  <a16:creationId xmlns:a16="http://schemas.microsoft.com/office/drawing/2014/main" xmlns="" id="{C89F7153-E361-49D7-B6BF-183891A7162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70">
              <a:extLst>
                <a:ext uri="{FF2B5EF4-FFF2-40B4-BE49-F238E27FC236}">
                  <a16:creationId xmlns:a16="http://schemas.microsoft.com/office/drawing/2014/main" xmlns="" id="{94F8B6D3-52FA-44E1-BF55-C6309361DCA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71">
              <a:extLst>
                <a:ext uri="{FF2B5EF4-FFF2-40B4-BE49-F238E27FC236}">
                  <a16:creationId xmlns:a16="http://schemas.microsoft.com/office/drawing/2014/main" xmlns="" id="{2AD7BF99-84ED-4465-8845-5199AA2D15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72">
              <a:extLst>
                <a:ext uri="{FF2B5EF4-FFF2-40B4-BE49-F238E27FC236}">
                  <a16:creationId xmlns:a16="http://schemas.microsoft.com/office/drawing/2014/main" xmlns="" id="{4FF59DD4-92E1-40C9-AB58-24093B643A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73">
              <a:extLst>
                <a:ext uri="{FF2B5EF4-FFF2-40B4-BE49-F238E27FC236}">
                  <a16:creationId xmlns:a16="http://schemas.microsoft.com/office/drawing/2014/main" xmlns="" id="{85C5B690-A9BF-46E6-95FE-18ADD7AC5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4">
              <a:extLst>
                <a:ext uri="{FF2B5EF4-FFF2-40B4-BE49-F238E27FC236}">
                  <a16:creationId xmlns:a16="http://schemas.microsoft.com/office/drawing/2014/main" xmlns="" id="{A83617E2-05CC-4D83-AA1D-D7526572C2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5">
              <a:extLst>
                <a:ext uri="{FF2B5EF4-FFF2-40B4-BE49-F238E27FC236}">
                  <a16:creationId xmlns:a16="http://schemas.microsoft.com/office/drawing/2014/main" xmlns="" id="{6D6AD54D-2C6C-47DF-BB13-365D2716E17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76">
              <a:extLst>
                <a:ext uri="{FF2B5EF4-FFF2-40B4-BE49-F238E27FC236}">
                  <a16:creationId xmlns:a16="http://schemas.microsoft.com/office/drawing/2014/main" xmlns="" id="{B74021FE-8254-4478-AC23-502E02E49A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77">
              <a:extLst>
                <a:ext uri="{FF2B5EF4-FFF2-40B4-BE49-F238E27FC236}">
                  <a16:creationId xmlns:a16="http://schemas.microsoft.com/office/drawing/2014/main" xmlns="" id="{F2AFDE2B-C50A-4B9B-BB07-8F60E68AA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9" name="Freeform 178">
              <a:extLst>
                <a:ext uri="{FF2B5EF4-FFF2-40B4-BE49-F238E27FC236}">
                  <a16:creationId xmlns:a16="http://schemas.microsoft.com/office/drawing/2014/main" xmlns="" id="{DCCC2783-3C02-49CB-87D4-DC908C56A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179">
              <a:extLst>
                <a:ext uri="{FF2B5EF4-FFF2-40B4-BE49-F238E27FC236}">
                  <a16:creationId xmlns:a16="http://schemas.microsoft.com/office/drawing/2014/main" xmlns="" id="{A6B8A450-EC46-4A99-9CDC-F72404A960B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180">
              <a:extLst>
                <a:ext uri="{FF2B5EF4-FFF2-40B4-BE49-F238E27FC236}">
                  <a16:creationId xmlns:a16="http://schemas.microsoft.com/office/drawing/2014/main" xmlns="" id="{F62A5BD5-9EB6-40B2-8907-884BDEDE37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2" name="Freeform 181">
              <a:extLst>
                <a:ext uri="{FF2B5EF4-FFF2-40B4-BE49-F238E27FC236}">
                  <a16:creationId xmlns:a16="http://schemas.microsoft.com/office/drawing/2014/main" xmlns="" id="{BE2260B5-78AA-4165-B021-D450CF90B6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3" name="Freeform 182">
              <a:extLst>
                <a:ext uri="{FF2B5EF4-FFF2-40B4-BE49-F238E27FC236}">
                  <a16:creationId xmlns:a16="http://schemas.microsoft.com/office/drawing/2014/main" xmlns="" id="{9F3F3C4A-CC72-44B5-85AD-B32ECF3073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4" name="Freeform 183">
              <a:extLst>
                <a:ext uri="{FF2B5EF4-FFF2-40B4-BE49-F238E27FC236}">
                  <a16:creationId xmlns:a16="http://schemas.microsoft.com/office/drawing/2014/main" xmlns="" id="{9BBD442A-E7CE-4B7C-9916-206D33CC0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5" name="Freeform 184">
              <a:extLst>
                <a:ext uri="{FF2B5EF4-FFF2-40B4-BE49-F238E27FC236}">
                  <a16:creationId xmlns:a16="http://schemas.microsoft.com/office/drawing/2014/main" xmlns="" id="{08ACA5A7-3DBF-4202-B710-9AC3E7F1B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185">
              <a:extLst>
                <a:ext uri="{FF2B5EF4-FFF2-40B4-BE49-F238E27FC236}">
                  <a16:creationId xmlns:a16="http://schemas.microsoft.com/office/drawing/2014/main" xmlns="" id="{98DDDDD8-E55E-4EE5-85D6-8F4562024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186">
              <a:extLst>
                <a:ext uri="{FF2B5EF4-FFF2-40B4-BE49-F238E27FC236}">
                  <a16:creationId xmlns:a16="http://schemas.microsoft.com/office/drawing/2014/main" xmlns="" id="{877A4B4B-D40D-4DC0-B230-627DD1EF2F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187">
              <a:extLst>
                <a:ext uri="{FF2B5EF4-FFF2-40B4-BE49-F238E27FC236}">
                  <a16:creationId xmlns:a16="http://schemas.microsoft.com/office/drawing/2014/main" xmlns="" id="{D33B4977-86E6-4811-8741-2E5C48B71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188">
              <a:extLst>
                <a:ext uri="{FF2B5EF4-FFF2-40B4-BE49-F238E27FC236}">
                  <a16:creationId xmlns:a16="http://schemas.microsoft.com/office/drawing/2014/main" xmlns="" id="{948CB7DE-5097-413B-8155-C3384D2886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189">
              <a:extLst>
                <a:ext uri="{FF2B5EF4-FFF2-40B4-BE49-F238E27FC236}">
                  <a16:creationId xmlns:a16="http://schemas.microsoft.com/office/drawing/2014/main" xmlns="" id="{64F750D6-F4BD-48CC-93AC-6CB0ECC444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190">
              <a:extLst>
                <a:ext uri="{FF2B5EF4-FFF2-40B4-BE49-F238E27FC236}">
                  <a16:creationId xmlns:a16="http://schemas.microsoft.com/office/drawing/2014/main" xmlns="" id="{02B79F08-6F39-4CC3-A00B-07A05F196E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2" name="Freeform 191">
              <a:extLst>
                <a:ext uri="{FF2B5EF4-FFF2-40B4-BE49-F238E27FC236}">
                  <a16:creationId xmlns:a16="http://schemas.microsoft.com/office/drawing/2014/main" xmlns="" id="{6B1CB7E5-A963-4E39-8678-B2BF53A9D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192">
              <a:extLst>
                <a:ext uri="{FF2B5EF4-FFF2-40B4-BE49-F238E27FC236}">
                  <a16:creationId xmlns:a16="http://schemas.microsoft.com/office/drawing/2014/main" xmlns="" id="{9A5E1424-4241-4396-8A87-26B2512CB2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193">
              <a:extLst>
                <a:ext uri="{FF2B5EF4-FFF2-40B4-BE49-F238E27FC236}">
                  <a16:creationId xmlns:a16="http://schemas.microsoft.com/office/drawing/2014/main" xmlns="" id="{9882D67D-139A-4D98-93B7-ECF771AAB4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194">
              <a:extLst>
                <a:ext uri="{FF2B5EF4-FFF2-40B4-BE49-F238E27FC236}">
                  <a16:creationId xmlns:a16="http://schemas.microsoft.com/office/drawing/2014/main" xmlns="" id="{71BF6CDC-F281-48A3-B737-D4E51085F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Freeform 195">
              <a:extLst>
                <a:ext uri="{FF2B5EF4-FFF2-40B4-BE49-F238E27FC236}">
                  <a16:creationId xmlns:a16="http://schemas.microsoft.com/office/drawing/2014/main" xmlns="" id="{321FD731-6686-45AC-AD8D-AF3E12673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Freeform 196">
              <a:extLst>
                <a:ext uri="{FF2B5EF4-FFF2-40B4-BE49-F238E27FC236}">
                  <a16:creationId xmlns:a16="http://schemas.microsoft.com/office/drawing/2014/main" xmlns="" id="{DC5F01BC-F9A3-4A4F-83B0-AA211E60BC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8" name="Freeform 197">
              <a:extLst>
                <a:ext uri="{FF2B5EF4-FFF2-40B4-BE49-F238E27FC236}">
                  <a16:creationId xmlns:a16="http://schemas.microsoft.com/office/drawing/2014/main" xmlns="" id="{CEDC2FA0-0108-47C9-A318-507C6F78C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198">
              <a:extLst>
                <a:ext uri="{FF2B5EF4-FFF2-40B4-BE49-F238E27FC236}">
                  <a16:creationId xmlns:a16="http://schemas.microsoft.com/office/drawing/2014/main" xmlns="" id="{1E1CB0E0-836E-4086-8762-7C80B2EFD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Freeform 199">
              <a:extLst>
                <a:ext uri="{FF2B5EF4-FFF2-40B4-BE49-F238E27FC236}">
                  <a16:creationId xmlns:a16="http://schemas.microsoft.com/office/drawing/2014/main" xmlns="" id="{605D9605-4B12-4716-BA38-1AD0B85D9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1" name="Freeform 200">
              <a:extLst>
                <a:ext uri="{FF2B5EF4-FFF2-40B4-BE49-F238E27FC236}">
                  <a16:creationId xmlns:a16="http://schemas.microsoft.com/office/drawing/2014/main" xmlns="" id="{25B0D24E-F38B-4CEE-AEBA-A522C19D3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2" name="Freeform 201">
              <a:extLst>
                <a:ext uri="{FF2B5EF4-FFF2-40B4-BE49-F238E27FC236}">
                  <a16:creationId xmlns:a16="http://schemas.microsoft.com/office/drawing/2014/main" xmlns="" id="{4B7A7232-8733-4A78-B4E1-3A51EEF71A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3" name="Freeform 202">
              <a:extLst>
                <a:ext uri="{FF2B5EF4-FFF2-40B4-BE49-F238E27FC236}">
                  <a16:creationId xmlns:a16="http://schemas.microsoft.com/office/drawing/2014/main" xmlns="" id="{7A01F381-CCA2-47FD-ADA8-FF90386F9C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4" name="Freeform 203">
              <a:extLst>
                <a:ext uri="{FF2B5EF4-FFF2-40B4-BE49-F238E27FC236}">
                  <a16:creationId xmlns:a16="http://schemas.microsoft.com/office/drawing/2014/main" xmlns="" id="{83B8408B-6632-4793-A787-8377B75160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204">
              <a:extLst>
                <a:ext uri="{FF2B5EF4-FFF2-40B4-BE49-F238E27FC236}">
                  <a16:creationId xmlns:a16="http://schemas.microsoft.com/office/drawing/2014/main" xmlns="" id="{01C4B914-3B0D-4217-903F-E6CC8BD65B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6" name="Freeform 205">
              <a:extLst>
                <a:ext uri="{FF2B5EF4-FFF2-40B4-BE49-F238E27FC236}">
                  <a16:creationId xmlns:a16="http://schemas.microsoft.com/office/drawing/2014/main" xmlns="" id="{D32549A9-73BD-4855-8064-D4E6CD0D5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7" name="Freeform 206">
              <a:extLst>
                <a:ext uri="{FF2B5EF4-FFF2-40B4-BE49-F238E27FC236}">
                  <a16:creationId xmlns:a16="http://schemas.microsoft.com/office/drawing/2014/main" xmlns="" id="{C353EC8D-DE63-48B5-B968-3DC34EB2B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8" name="Freeform 207">
              <a:extLst>
                <a:ext uri="{FF2B5EF4-FFF2-40B4-BE49-F238E27FC236}">
                  <a16:creationId xmlns:a16="http://schemas.microsoft.com/office/drawing/2014/main" xmlns="" id="{D173B9B5-E375-4A23-864D-EEF2FF4A1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9" name="Freeform 208">
              <a:extLst>
                <a:ext uri="{FF2B5EF4-FFF2-40B4-BE49-F238E27FC236}">
                  <a16:creationId xmlns:a16="http://schemas.microsoft.com/office/drawing/2014/main" xmlns="" id="{85456A59-6DF9-4598-8E1B-2BDEE0FF6C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0" name="Freeform 209">
              <a:extLst>
                <a:ext uri="{FF2B5EF4-FFF2-40B4-BE49-F238E27FC236}">
                  <a16:creationId xmlns:a16="http://schemas.microsoft.com/office/drawing/2014/main" xmlns="" id="{F0EBC6D7-AC57-44F3-86BF-9E36B734D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1" name="Freeform 210">
              <a:extLst>
                <a:ext uri="{FF2B5EF4-FFF2-40B4-BE49-F238E27FC236}">
                  <a16:creationId xmlns:a16="http://schemas.microsoft.com/office/drawing/2014/main" xmlns="" id="{2F0CFA99-0ABC-4F0E-8D7F-DBDA0FDD35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2" name="Freeform 211">
              <a:extLst>
                <a:ext uri="{FF2B5EF4-FFF2-40B4-BE49-F238E27FC236}">
                  <a16:creationId xmlns:a16="http://schemas.microsoft.com/office/drawing/2014/main" xmlns="" id="{581590A2-9474-4C14-8D96-6DCDC13B9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212">
              <a:extLst>
                <a:ext uri="{FF2B5EF4-FFF2-40B4-BE49-F238E27FC236}">
                  <a16:creationId xmlns:a16="http://schemas.microsoft.com/office/drawing/2014/main" xmlns="" id="{8C9DF260-F1B2-4CCD-90A1-B0B84185C0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213">
              <a:extLst>
                <a:ext uri="{FF2B5EF4-FFF2-40B4-BE49-F238E27FC236}">
                  <a16:creationId xmlns:a16="http://schemas.microsoft.com/office/drawing/2014/main" xmlns="" id="{79DF02C7-05CC-4AE9-A74E-3800A5A0D1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14">
              <a:extLst>
                <a:ext uri="{FF2B5EF4-FFF2-40B4-BE49-F238E27FC236}">
                  <a16:creationId xmlns:a16="http://schemas.microsoft.com/office/drawing/2014/main" xmlns="" id="{0A247243-5124-4504-91E8-5E6E14C5B4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15">
              <a:extLst>
                <a:ext uri="{FF2B5EF4-FFF2-40B4-BE49-F238E27FC236}">
                  <a16:creationId xmlns:a16="http://schemas.microsoft.com/office/drawing/2014/main" xmlns="" id="{F2E92E90-A9CE-4732-B171-8BC126843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16">
              <a:extLst>
                <a:ext uri="{FF2B5EF4-FFF2-40B4-BE49-F238E27FC236}">
                  <a16:creationId xmlns:a16="http://schemas.microsoft.com/office/drawing/2014/main" xmlns="" id="{3AF0E1B8-2E0E-4759-B5BF-467911B8D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17">
              <a:extLst>
                <a:ext uri="{FF2B5EF4-FFF2-40B4-BE49-F238E27FC236}">
                  <a16:creationId xmlns:a16="http://schemas.microsoft.com/office/drawing/2014/main" xmlns="" id="{DF0B6641-5C69-444B-A036-13D5B046BD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18">
              <a:extLst>
                <a:ext uri="{FF2B5EF4-FFF2-40B4-BE49-F238E27FC236}">
                  <a16:creationId xmlns:a16="http://schemas.microsoft.com/office/drawing/2014/main" xmlns="" id="{396E76DA-B565-475B-B298-D369AB7D179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19">
              <a:extLst>
                <a:ext uri="{FF2B5EF4-FFF2-40B4-BE49-F238E27FC236}">
                  <a16:creationId xmlns:a16="http://schemas.microsoft.com/office/drawing/2014/main" xmlns="" id="{7D5346E7-3D4D-4D17-BE1B-2E04FF162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20">
              <a:extLst>
                <a:ext uri="{FF2B5EF4-FFF2-40B4-BE49-F238E27FC236}">
                  <a16:creationId xmlns:a16="http://schemas.microsoft.com/office/drawing/2014/main" xmlns="" id="{64E2B712-7D69-4FDB-8BE1-4D1882F38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21">
              <a:extLst>
                <a:ext uri="{FF2B5EF4-FFF2-40B4-BE49-F238E27FC236}">
                  <a16:creationId xmlns:a16="http://schemas.microsoft.com/office/drawing/2014/main" xmlns="" id="{7CC813E8-C87B-42C0-A648-B82F1C4F8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22">
              <a:extLst>
                <a:ext uri="{FF2B5EF4-FFF2-40B4-BE49-F238E27FC236}">
                  <a16:creationId xmlns:a16="http://schemas.microsoft.com/office/drawing/2014/main" xmlns="" id="{808AFB0F-E59D-4C1C-915A-3F5B06E12A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23">
              <a:extLst>
                <a:ext uri="{FF2B5EF4-FFF2-40B4-BE49-F238E27FC236}">
                  <a16:creationId xmlns:a16="http://schemas.microsoft.com/office/drawing/2014/main" xmlns="" id="{F7591709-05D5-461B-8389-36DE195B63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Freeform 224">
              <a:extLst>
                <a:ext uri="{FF2B5EF4-FFF2-40B4-BE49-F238E27FC236}">
                  <a16:creationId xmlns:a16="http://schemas.microsoft.com/office/drawing/2014/main" xmlns="" id="{DF1B99A0-D09F-4D40-A1A1-0928A4EE2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Freeform 225">
              <a:extLst>
                <a:ext uri="{FF2B5EF4-FFF2-40B4-BE49-F238E27FC236}">
                  <a16:creationId xmlns:a16="http://schemas.microsoft.com/office/drawing/2014/main" xmlns="" id="{AE2610BA-D09E-4B59-8DD0-0F6DE6CFB5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Freeform 226">
              <a:extLst>
                <a:ext uri="{FF2B5EF4-FFF2-40B4-BE49-F238E27FC236}">
                  <a16:creationId xmlns:a16="http://schemas.microsoft.com/office/drawing/2014/main" xmlns="" id="{D0560A71-352F-4B43-8D92-57171CB3B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Freeform 227">
              <a:extLst>
                <a:ext uri="{FF2B5EF4-FFF2-40B4-BE49-F238E27FC236}">
                  <a16:creationId xmlns:a16="http://schemas.microsoft.com/office/drawing/2014/main" xmlns="" id="{0D100414-3183-4CFA-A0CA-B71BC8E2B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Freeform 228">
              <a:extLst>
                <a:ext uri="{FF2B5EF4-FFF2-40B4-BE49-F238E27FC236}">
                  <a16:creationId xmlns:a16="http://schemas.microsoft.com/office/drawing/2014/main" xmlns="" id="{17E491AA-2FDC-44DD-8966-38B98A4214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Freeform 229">
              <a:extLst>
                <a:ext uri="{FF2B5EF4-FFF2-40B4-BE49-F238E27FC236}">
                  <a16:creationId xmlns:a16="http://schemas.microsoft.com/office/drawing/2014/main" xmlns="" id="{A21A290E-1F14-48BA-84B7-F464928AA2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230">
              <a:extLst>
                <a:ext uri="{FF2B5EF4-FFF2-40B4-BE49-F238E27FC236}">
                  <a16:creationId xmlns:a16="http://schemas.microsoft.com/office/drawing/2014/main" xmlns="" id="{740BD19D-3234-4AAF-8393-1E40E635292F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Freeform 231">
              <a:extLst>
                <a:ext uri="{FF2B5EF4-FFF2-40B4-BE49-F238E27FC236}">
                  <a16:creationId xmlns:a16="http://schemas.microsoft.com/office/drawing/2014/main" xmlns="" id="{87F474AE-C174-4EFC-8ECD-6BDBCACDB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Freeform 232">
              <a:extLst>
                <a:ext uri="{FF2B5EF4-FFF2-40B4-BE49-F238E27FC236}">
                  <a16:creationId xmlns:a16="http://schemas.microsoft.com/office/drawing/2014/main" xmlns="" id="{5DBDCD3C-4247-49A1-8924-81957170B5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Freeform 233">
              <a:extLst>
                <a:ext uri="{FF2B5EF4-FFF2-40B4-BE49-F238E27FC236}">
                  <a16:creationId xmlns:a16="http://schemas.microsoft.com/office/drawing/2014/main" xmlns="" id="{694288C1-A1DC-4878-8A9B-7756F4CEEA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Freeform 234">
              <a:extLst>
                <a:ext uri="{FF2B5EF4-FFF2-40B4-BE49-F238E27FC236}">
                  <a16:creationId xmlns:a16="http://schemas.microsoft.com/office/drawing/2014/main" xmlns="" id="{CB49AAAE-DAB7-4802-A8B5-BE81F318B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Freeform 235">
              <a:extLst>
                <a:ext uri="{FF2B5EF4-FFF2-40B4-BE49-F238E27FC236}">
                  <a16:creationId xmlns:a16="http://schemas.microsoft.com/office/drawing/2014/main" xmlns="" id="{C04E93B6-B56A-4B49-92F2-121D534F5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Freeform 236">
              <a:extLst>
                <a:ext uri="{FF2B5EF4-FFF2-40B4-BE49-F238E27FC236}">
                  <a16:creationId xmlns:a16="http://schemas.microsoft.com/office/drawing/2014/main" xmlns="" id="{4502ADAC-CF41-4DAD-8095-CF16C17F6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37">
              <a:extLst>
                <a:ext uri="{FF2B5EF4-FFF2-40B4-BE49-F238E27FC236}">
                  <a16:creationId xmlns:a16="http://schemas.microsoft.com/office/drawing/2014/main" xmlns="" id="{EC4B3E73-B621-4F29-AE7B-347DC1C747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38">
              <a:extLst>
                <a:ext uri="{FF2B5EF4-FFF2-40B4-BE49-F238E27FC236}">
                  <a16:creationId xmlns:a16="http://schemas.microsoft.com/office/drawing/2014/main" xmlns="" id="{178386EE-1DDF-4322-A9AD-B943C7FC404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39">
              <a:extLst>
                <a:ext uri="{FF2B5EF4-FFF2-40B4-BE49-F238E27FC236}">
                  <a16:creationId xmlns:a16="http://schemas.microsoft.com/office/drawing/2014/main" xmlns="" id="{0F0DCA45-1E74-4CEB-BF0D-D9E0356FE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40">
              <a:extLst>
                <a:ext uri="{FF2B5EF4-FFF2-40B4-BE49-F238E27FC236}">
                  <a16:creationId xmlns:a16="http://schemas.microsoft.com/office/drawing/2014/main" xmlns="" id="{2117896E-4D8C-47FF-9486-2D69D85FCB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41">
              <a:extLst>
                <a:ext uri="{FF2B5EF4-FFF2-40B4-BE49-F238E27FC236}">
                  <a16:creationId xmlns:a16="http://schemas.microsoft.com/office/drawing/2014/main" xmlns="" id="{C0271F29-F1EA-4AB6-8DCD-F9547C0BB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42">
              <a:extLst>
                <a:ext uri="{FF2B5EF4-FFF2-40B4-BE49-F238E27FC236}">
                  <a16:creationId xmlns:a16="http://schemas.microsoft.com/office/drawing/2014/main" xmlns="" id="{A6B346F5-AD81-424B-9926-B948B233AF5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43">
              <a:extLst>
                <a:ext uri="{FF2B5EF4-FFF2-40B4-BE49-F238E27FC236}">
                  <a16:creationId xmlns:a16="http://schemas.microsoft.com/office/drawing/2014/main" xmlns="" id="{96B4DEBF-A3B1-4137-AF38-0B294D238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44">
              <a:extLst>
                <a:ext uri="{FF2B5EF4-FFF2-40B4-BE49-F238E27FC236}">
                  <a16:creationId xmlns:a16="http://schemas.microsoft.com/office/drawing/2014/main" xmlns="" id="{E9874280-AF20-4A17-A255-2F587D00DF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45">
              <a:extLst>
                <a:ext uri="{FF2B5EF4-FFF2-40B4-BE49-F238E27FC236}">
                  <a16:creationId xmlns:a16="http://schemas.microsoft.com/office/drawing/2014/main" xmlns="" id="{DBBF128F-C0AB-4865-A2F0-65912150F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46">
              <a:extLst>
                <a:ext uri="{FF2B5EF4-FFF2-40B4-BE49-F238E27FC236}">
                  <a16:creationId xmlns:a16="http://schemas.microsoft.com/office/drawing/2014/main" xmlns="" id="{A346A1F4-BBC6-4ED8-B744-BE05B651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47">
              <a:extLst>
                <a:ext uri="{FF2B5EF4-FFF2-40B4-BE49-F238E27FC236}">
                  <a16:creationId xmlns:a16="http://schemas.microsoft.com/office/drawing/2014/main" xmlns="" id="{28C17B6D-48CA-4DC7-9636-F730E9662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48">
              <a:extLst>
                <a:ext uri="{FF2B5EF4-FFF2-40B4-BE49-F238E27FC236}">
                  <a16:creationId xmlns:a16="http://schemas.microsoft.com/office/drawing/2014/main" xmlns="" id="{F3C1A1AC-C04B-4F43-AE05-C319843648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49">
              <a:extLst>
                <a:ext uri="{FF2B5EF4-FFF2-40B4-BE49-F238E27FC236}">
                  <a16:creationId xmlns:a16="http://schemas.microsoft.com/office/drawing/2014/main" xmlns="" id="{B694E0D3-5E42-4A87-91F2-72A2E0BA3E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50">
              <a:extLst>
                <a:ext uri="{FF2B5EF4-FFF2-40B4-BE49-F238E27FC236}">
                  <a16:creationId xmlns:a16="http://schemas.microsoft.com/office/drawing/2014/main" xmlns="" id="{0A50710D-ECE7-4B7B-AE1D-675A637FE3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Freeform 251">
              <a:extLst>
                <a:ext uri="{FF2B5EF4-FFF2-40B4-BE49-F238E27FC236}">
                  <a16:creationId xmlns:a16="http://schemas.microsoft.com/office/drawing/2014/main" xmlns="" id="{19CC7084-2546-4AA5-812C-92D97D2E2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Freeform 252">
              <a:extLst>
                <a:ext uri="{FF2B5EF4-FFF2-40B4-BE49-F238E27FC236}">
                  <a16:creationId xmlns:a16="http://schemas.microsoft.com/office/drawing/2014/main" xmlns="" id="{5E6AE100-A7BD-436A-A252-528C61F27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Freeform 253">
              <a:extLst>
                <a:ext uri="{FF2B5EF4-FFF2-40B4-BE49-F238E27FC236}">
                  <a16:creationId xmlns:a16="http://schemas.microsoft.com/office/drawing/2014/main" xmlns="" id="{CE206D04-B486-4BD8-9DC6-17C16FB55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54">
              <a:extLst>
                <a:ext uri="{FF2B5EF4-FFF2-40B4-BE49-F238E27FC236}">
                  <a16:creationId xmlns:a16="http://schemas.microsoft.com/office/drawing/2014/main" xmlns="" id="{92193D0B-44E1-4013-B9F4-F9EC845EF3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55">
              <a:extLst>
                <a:ext uri="{FF2B5EF4-FFF2-40B4-BE49-F238E27FC236}">
                  <a16:creationId xmlns:a16="http://schemas.microsoft.com/office/drawing/2014/main" xmlns="" id="{F58B010E-8EB3-4645-A050-A9E498A7E2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Freeform 256">
              <a:extLst>
                <a:ext uri="{FF2B5EF4-FFF2-40B4-BE49-F238E27FC236}">
                  <a16:creationId xmlns:a16="http://schemas.microsoft.com/office/drawing/2014/main" xmlns="" id="{B19D78AB-415E-4036-8A74-0D9A8E8B63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57">
              <a:extLst>
                <a:ext uri="{FF2B5EF4-FFF2-40B4-BE49-F238E27FC236}">
                  <a16:creationId xmlns:a16="http://schemas.microsoft.com/office/drawing/2014/main" xmlns="" id="{0CA12F89-3030-4810-8D27-54C7603BF5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58">
              <a:extLst>
                <a:ext uri="{FF2B5EF4-FFF2-40B4-BE49-F238E27FC236}">
                  <a16:creationId xmlns:a16="http://schemas.microsoft.com/office/drawing/2014/main" xmlns="" id="{CB6ED188-DEC0-446C-B2F1-FD31717A2D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59">
              <a:extLst>
                <a:ext uri="{FF2B5EF4-FFF2-40B4-BE49-F238E27FC236}">
                  <a16:creationId xmlns:a16="http://schemas.microsoft.com/office/drawing/2014/main" xmlns="" id="{7594D2BB-280A-4A7D-998A-E4F2B642DF9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60">
              <a:extLst>
                <a:ext uri="{FF2B5EF4-FFF2-40B4-BE49-F238E27FC236}">
                  <a16:creationId xmlns:a16="http://schemas.microsoft.com/office/drawing/2014/main" xmlns="" id="{76CEA0A0-BDE9-4C14-BD90-0F68FB40B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61">
              <a:extLst>
                <a:ext uri="{FF2B5EF4-FFF2-40B4-BE49-F238E27FC236}">
                  <a16:creationId xmlns:a16="http://schemas.microsoft.com/office/drawing/2014/main" xmlns="" id="{0C4B692B-3A6A-4684-8253-536E67161E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62">
              <a:extLst>
                <a:ext uri="{FF2B5EF4-FFF2-40B4-BE49-F238E27FC236}">
                  <a16:creationId xmlns:a16="http://schemas.microsoft.com/office/drawing/2014/main" xmlns="" id="{694E952B-4D66-473C-B0EA-ED8B5E4F0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63">
              <a:extLst>
                <a:ext uri="{FF2B5EF4-FFF2-40B4-BE49-F238E27FC236}">
                  <a16:creationId xmlns:a16="http://schemas.microsoft.com/office/drawing/2014/main" xmlns="" id="{668B1E09-DDDD-438C-B694-DF582918FE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64">
              <a:extLst>
                <a:ext uri="{FF2B5EF4-FFF2-40B4-BE49-F238E27FC236}">
                  <a16:creationId xmlns:a16="http://schemas.microsoft.com/office/drawing/2014/main" xmlns="" id="{1F9EF179-3009-42BC-BFBF-975DF8C9FC1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Freeform 265">
              <a:extLst>
                <a:ext uri="{FF2B5EF4-FFF2-40B4-BE49-F238E27FC236}">
                  <a16:creationId xmlns:a16="http://schemas.microsoft.com/office/drawing/2014/main" xmlns="" id="{FFB60088-5CA1-471A-B417-630B8EB97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Freeform 266">
              <a:extLst>
                <a:ext uri="{FF2B5EF4-FFF2-40B4-BE49-F238E27FC236}">
                  <a16:creationId xmlns:a16="http://schemas.microsoft.com/office/drawing/2014/main" xmlns="" id="{75720D33-2F78-4B96-BDBE-F0ECE329CA1B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Freeform 267">
              <a:extLst>
                <a:ext uri="{FF2B5EF4-FFF2-40B4-BE49-F238E27FC236}">
                  <a16:creationId xmlns:a16="http://schemas.microsoft.com/office/drawing/2014/main" xmlns="" id="{C8D3D98D-6A75-41AB-A725-637B60D1A59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Freeform 268">
              <a:extLst>
                <a:ext uri="{FF2B5EF4-FFF2-40B4-BE49-F238E27FC236}">
                  <a16:creationId xmlns:a16="http://schemas.microsoft.com/office/drawing/2014/main" xmlns="" id="{20F62CE4-FEA7-4C79-BC4A-EE2E2CF760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Freeform 269">
              <a:extLst>
                <a:ext uri="{FF2B5EF4-FFF2-40B4-BE49-F238E27FC236}">
                  <a16:creationId xmlns:a16="http://schemas.microsoft.com/office/drawing/2014/main" xmlns="" id="{E9029E94-BB43-4B76-BE6D-BEE8969AA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Freeform 270">
              <a:extLst>
                <a:ext uri="{FF2B5EF4-FFF2-40B4-BE49-F238E27FC236}">
                  <a16:creationId xmlns:a16="http://schemas.microsoft.com/office/drawing/2014/main" xmlns="" id="{63BE4AE8-1CFE-4D81-A804-1A46153343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Freeform 271">
              <a:extLst>
                <a:ext uri="{FF2B5EF4-FFF2-40B4-BE49-F238E27FC236}">
                  <a16:creationId xmlns:a16="http://schemas.microsoft.com/office/drawing/2014/main" xmlns="" id="{381CBFB3-B99B-4C14-B7AB-8488C43A3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Freeform 272">
              <a:extLst>
                <a:ext uri="{FF2B5EF4-FFF2-40B4-BE49-F238E27FC236}">
                  <a16:creationId xmlns:a16="http://schemas.microsoft.com/office/drawing/2014/main" xmlns="" id="{7745D9AD-DA4E-4D9F-9040-6FAC72B16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Freeform 273">
              <a:extLst>
                <a:ext uri="{FF2B5EF4-FFF2-40B4-BE49-F238E27FC236}">
                  <a16:creationId xmlns:a16="http://schemas.microsoft.com/office/drawing/2014/main" xmlns="" id="{B9E3042B-2A38-4C8C-85F1-48C58CCB79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Freeform 274">
              <a:extLst>
                <a:ext uri="{FF2B5EF4-FFF2-40B4-BE49-F238E27FC236}">
                  <a16:creationId xmlns:a16="http://schemas.microsoft.com/office/drawing/2014/main" xmlns="" id="{8233C820-B342-43E5-AE8B-80C2B079C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Freeform 275">
              <a:extLst>
                <a:ext uri="{FF2B5EF4-FFF2-40B4-BE49-F238E27FC236}">
                  <a16:creationId xmlns:a16="http://schemas.microsoft.com/office/drawing/2014/main" xmlns="" id="{E21F766D-9833-41C8-A752-4274A61B84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Freeform 276">
              <a:extLst>
                <a:ext uri="{FF2B5EF4-FFF2-40B4-BE49-F238E27FC236}">
                  <a16:creationId xmlns:a16="http://schemas.microsoft.com/office/drawing/2014/main" xmlns="" id="{B13296EB-27E8-4900-B110-077E9EF9A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8" name="Freeform 277">
              <a:extLst>
                <a:ext uri="{FF2B5EF4-FFF2-40B4-BE49-F238E27FC236}">
                  <a16:creationId xmlns:a16="http://schemas.microsoft.com/office/drawing/2014/main" xmlns="" id="{5BEB32E2-DB82-4AFC-A6C4-1AB88DD00D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9" name="Freeform 278">
              <a:extLst>
                <a:ext uri="{FF2B5EF4-FFF2-40B4-BE49-F238E27FC236}">
                  <a16:creationId xmlns:a16="http://schemas.microsoft.com/office/drawing/2014/main" xmlns="" id="{E18BF71D-C91A-42B0-B274-6113619BD8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0" name="Freeform 279">
              <a:extLst>
                <a:ext uri="{FF2B5EF4-FFF2-40B4-BE49-F238E27FC236}">
                  <a16:creationId xmlns:a16="http://schemas.microsoft.com/office/drawing/2014/main" xmlns="" id="{77220908-8037-4EBE-A84F-6E7D798612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1" name="Freeform 280">
              <a:extLst>
                <a:ext uri="{FF2B5EF4-FFF2-40B4-BE49-F238E27FC236}">
                  <a16:creationId xmlns:a16="http://schemas.microsoft.com/office/drawing/2014/main" xmlns="" id="{4C84D105-E7A0-4342-86F0-9D53BFFBE2F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2" name="Freeform 281">
              <a:extLst>
                <a:ext uri="{FF2B5EF4-FFF2-40B4-BE49-F238E27FC236}">
                  <a16:creationId xmlns:a16="http://schemas.microsoft.com/office/drawing/2014/main" xmlns="" id="{14EB2F71-F4D0-4950-91E7-5FAFDD6DAA0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3" name="Freeform 282">
              <a:extLst>
                <a:ext uri="{FF2B5EF4-FFF2-40B4-BE49-F238E27FC236}">
                  <a16:creationId xmlns:a16="http://schemas.microsoft.com/office/drawing/2014/main" xmlns="" id="{108FC532-7C78-42C5-860A-C4F7CDE6A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4" name="Freeform 283">
              <a:extLst>
                <a:ext uri="{FF2B5EF4-FFF2-40B4-BE49-F238E27FC236}">
                  <a16:creationId xmlns:a16="http://schemas.microsoft.com/office/drawing/2014/main" xmlns="" id="{649C1A5D-8B22-4A91-8EC6-4CAEA19AD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5" name="Freeform 284">
              <a:extLst>
                <a:ext uri="{FF2B5EF4-FFF2-40B4-BE49-F238E27FC236}">
                  <a16:creationId xmlns:a16="http://schemas.microsoft.com/office/drawing/2014/main" xmlns="" id="{E6CB14F3-20E1-46F9-8D1E-2EEA7C6E65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6" name="Freeform 285">
              <a:extLst>
                <a:ext uri="{FF2B5EF4-FFF2-40B4-BE49-F238E27FC236}">
                  <a16:creationId xmlns:a16="http://schemas.microsoft.com/office/drawing/2014/main" xmlns="" id="{6710429E-139A-424C-B121-9E4F78B31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7" name="Freeform 286">
              <a:extLst>
                <a:ext uri="{FF2B5EF4-FFF2-40B4-BE49-F238E27FC236}">
                  <a16:creationId xmlns:a16="http://schemas.microsoft.com/office/drawing/2014/main" xmlns="" id="{3EE27BB3-922B-493B-8E3D-8D56991B9A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8" name="Freeform 287">
              <a:extLst>
                <a:ext uri="{FF2B5EF4-FFF2-40B4-BE49-F238E27FC236}">
                  <a16:creationId xmlns:a16="http://schemas.microsoft.com/office/drawing/2014/main" xmlns="" id="{B7D3AB49-50D8-4504-8AC1-907D37A6236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9" name="Freeform 288">
              <a:extLst>
                <a:ext uri="{FF2B5EF4-FFF2-40B4-BE49-F238E27FC236}">
                  <a16:creationId xmlns:a16="http://schemas.microsoft.com/office/drawing/2014/main" xmlns="" id="{4F6ACB53-FA8D-424B-984D-01AFC20A23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0" name="Freeform 289">
              <a:extLst>
                <a:ext uri="{FF2B5EF4-FFF2-40B4-BE49-F238E27FC236}">
                  <a16:creationId xmlns:a16="http://schemas.microsoft.com/office/drawing/2014/main" xmlns="" id="{FD3987F3-1C4D-45EB-83D7-1E964E6D84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1" name="Freeform 290">
              <a:extLst>
                <a:ext uri="{FF2B5EF4-FFF2-40B4-BE49-F238E27FC236}">
                  <a16:creationId xmlns:a16="http://schemas.microsoft.com/office/drawing/2014/main" xmlns="" id="{473524D3-E8CA-4000-B3A1-699E95C5A7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2" name="Freeform 291">
              <a:extLst>
                <a:ext uri="{FF2B5EF4-FFF2-40B4-BE49-F238E27FC236}">
                  <a16:creationId xmlns:a16="http://schemas.microsoft.com/office/drawing/2014/main" xmlns="" id="{2EC29348-5670-4FBA-A6C4-3D98F0E20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3" name="Freeform 292">
              <a:extLst>
                <a:ext uri="{FF2B5EF4-FFF2-40B4-BE49-F238E27FC236}">
                  <a16:creationId xmlns:a16="http://schemas.microsoft.com/office/drawing/2014/main" xmlns="" id="{75868046-A72C-4A08-B0E1-BAD2DA0A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4" name="Freeform 293">
              <a:extLst>
                <a:ext uri="{FF2B5EF4-FFF2-40B4-BE49-F238E27FC236}">
                  <a16:creationId xmlns:a16="http://schemas.microsoft.com/office/drawing/2014/main" xmlns="" id="{4A1C8766-B616-451B-814D-24A39903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5" name="Freeform 294">
              <a:extLst>
                <a:ext uri="{FF2B5EF4-FFF2-40B4-BE49-F238E27FC236}">
                  <a16:creationId xmlns:a16="http://schemas.microsoft.com/office/drawing/2014/main" xmlns="" id="{1A4BE9B9-2C1A-42D7-95B1-F6741E2EC5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6" name="Freeform 295">
              <a:extLst>
                <a:ext uri="{FF2B5EF4-FFF2-40B4-BE49-F238E27FC236}">
                  <a16:creationId xmlns:a16="http://schemas.microsoft.com/office/drawing/2014/main" xmlns="" id="{EBBEEB5E-9872-42D6-8FBF-DABE259C41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7" name="Freeform 296">
              <a:extLst>
                <a:ext uri="{FF2B5EF4-FFF2-40B4-BE49-F238E27FC236}">
                  <a16:creationId xmlns:a16="http://schemas.microsoft.com/office/drawing/2014/main" xmlns="" id="{FDF40B64-2212-4FE4-BFF1-1AB806012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8" name="Freeform 297">
              <a:extLst>
                <a:ext uri="{FF2B5EF4-FFF2-40B4-BE49-F238E27FC236}">
                  <a16:creationId xmlns:a16="http://schemas.microsoft.com/office/drawing/2014/main" xmlns="" id="{BADB46E0-1CB1-443D-975E-CF405E8130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9" name="Freeform 298">
              <a:extLst>
                <a:ext uri="{FF2B5EF4-FFF2-40B4-BE49-F238E27FC236}">
                  <a16:creationId xmlns:a16="http://schemas.microsoft.com/office/drawing/2014/main" xmlns="" id="{3496F68A-9BF5-4B74-A338-3966A0C65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0" name="Freeform 299">
              <a:extLst>
                <a:ext uri="{FF2B5EF4-FFF2-40B4-BE49-F238E27FC236}">
                  <a16:creationId xmlns:a16="http://schemas.microsoft.com/office/drawing/2014/main" xmlns="" id="{335610E9-BAEB-41B8-8FFA-7D042DD43DB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1" name="Freeform 300">
              <a:extLst>
                <a:ext uri="{FF2B5EF4-FFF2-40B4-BE49-F238E27FC236}">
                  <a16:creationId xmlns:a16="http://schemas.microsoft.com/office/drawing/2014/main" xmlns="" id="{5CD62799-C9C2-4B49-9A8F-9CFB73E55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2" name="Freeform 301">
              <a:extLst>
                <a:ext uri="{FF2B5EF4-FFF2-40B4-BE49-F238E27FC236}">
                  <a16:creationId xmlns:a16="http://schemas.microsoft.com/office/drawing/2014/main" xmlns="" id="{BBE6BCA8-BE9E-4549-B035-8FF2AE954A2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3" name="Freeform 302">
              <a:extLst>
                <a:ext uri="{FF2B5EF4-FFF2-40B4-BE49-F238E27FC236}">
                  <a16:creationId xmlns:a16="http://schemas.microsoft.com/office/drawing/2014/main" xmlns="" id="{53476937-873A-495E-AA18-84D7486343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4" name="Freeform 303">
              <a:extLst>
                <a:ext uri="{FF2B5EF4-FFF2-40B4-BE49-F238E27FC236}">
                  <a16:creationId xmlns:a16="http://schemas.microsoft.com/office/drawing/2014/main" xmlns="" id="{6A3A4395-7937-4315-943E-4847BAAC64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5" name="Freeform 304">
              <a:extLst>
                <a:ext uri="{FF2B5EF4-FFF2-40B4-BE49-F238E27FC236}">
                  <a16:creationId xmlns:a16="http://schemas.microsoft.com/office/drawing/2014/main" xmlns="" id="{7B6469F6-062F-484B-AD07-199832EF6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6" name="Freeform 305">
              <a:extLst>
                <a:ext uri="{FF2B5EF4-FFF2-40B4-BE49-F238E27FC236}">
                  <a16:creationId xmlns:a16="http://schemas.microsoft.com/office/drawing/2014/main" xmlns="" id="{3BF4CB0A-1993-44D6-8A90-22F05FBC29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7" name="Freeform 306">
              <a:extLst>
                <a:ext uri="{FF2B5EF4-FFF2-40B4-BE49-F238E27FC236}">
                  <a16:creationId xmlns:a16="http://schemas.microsoft.com/office/drawing/2014/main" xmlns="" id="{88C2CFCE-0C1F-4FAC-A317-A15C39640D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8" name="Freeform 307">
              <a:extLst>
                <a:ext uri="{FF2B5EF4-FFF2-40B4-BE49-F238E27FC236}">
                  <a16:creationId xmlns:a16="http://schemas.microsoft.com/office/drawing/2014/main" xmlns="" id="{1567C6F1-18FD-4D75-B098-CF3AD102D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9" name="Freeform 308">
              <a:extLst>
                <a:ext uri="{FF2B5EF4-FFF2-40B4-BE49-F238E27FC236}">
                  <a16:creationId xmlns:a16="http://schemas.microsoft.com/office/drawing/2014/main" xmlns="" id="{B8528807-C987-41B1-A823-02C317A17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0" name="Freeform 309">
              <a:extLst>
                <a:ext uri="{FF2B5EF4-FFF2-40B4-BE49-F238E27FC236}">
                  <a16:creationId xmlns:a16="http://schemas.microsoft.com/office/drawing/2014/main" xmlns="" id="{5879B2E2-52C1-4781-B44E-E789548F6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1" name="Freeform 310">
              <a:extLst>
                <a:ext uri="{FF2B5EF4-FFF2-40B4-BE49-F238E27FC236}">
                  <a16:creationId xmlns:a16="http://schemas.microsoft.com/office/drawing/2014/main" xmlns="" id="{F12F28D8-8F36-48AD-977C-C98424BBBD3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2" name="Freeform 311">
              <a:extLst>
                <a:ext uri="{FF2B5EF4-FFF2-40B4-BE49-F238E27FC236}">
                  <a16:creationId xmlns:a16="http://schemas.microsoft.com/office/drawing/2014/main" xmlns="" id="{F8F44602-437E-47E2-A5EB-1D65C1B17C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164" name="Рисунок 163">
            <a:extLst>
              <a:ext uri="{FF2B5EF4-FFF2-40B4-BE49-F238E27FC236}">
                <a16:creationId xmlns:a16="http://schemas.microsoft.com/office/drawing/2014/main" xmlns="" id="{5F623A51-491E-4E8C-B77B-D595AAEA7F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24" y="111623"/>
            <a:ext cx="569341" cy="4674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4865882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F4980897-7B9C-4A76-B3C1-8E31CDDFEE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4988597"/>
            <a:ext cx="9144000" cy="154976"/>
          </a:xfrm>
          <a:prstGeom prst="rect">
            <a:avLst/>
          </a:prstGeom>
          <a:ln>
            <a:noFill/>
          </a:ln>
        </p:spPr>
      </p:pic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8C923F51-ABFE-4C1C-A57B-8F87F82366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xmlns="" id="{6BAF29F5-66CF-49F6-A2CF-5B6E08807A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47260"/>
            <a:ext cx="6372546" cy="541856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xmlns="" id="{49F7D9B3-801F-4B29-8FD5-FCD33656EA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009"/>
          <a:stretch>
            <a:fillRect/>
          </a:stretch>
        </p:blipFill>
        <p:spPr>
          <a:xfrm flipH="1">
            <a:off x="5698909" y="0"/>
            <a:ext cx="3928370" cy="2656206"/>
          </a:xfrm>
          <a:custGeom>
            <a:avLst/>
            <a:gdLst>
              <a:gd name="connsiteX0" fmla="*/ 6698892 w 6857998"/>
              <a:gd name="connsiteY0" fmla="*/ 4338612 h 4637103"/>
              <a:gd name="connsiteX1" fmla="*/ 6727407 w 6857998"/>
              <a:gd name="connsiteY1" fmla="*/ 4327240 h 4637103"/>
              <a:gd name="connsiteX2" fmla="*/ 6824141 w 6857998"/>
              <a:gd name="connsiteY2" fmla="*/ 4269199 h 4637103"/>
              <a:gd name="connsiteX3" fmla="*/ 6843062 w 6857998"/>
              <a:gd name="connsiteY3" fmla="*/ 4254028 h 4637103"/>
              <a:gd name="connsiteX4" fmla="*/ 6857998 w 6857998"/>
              <a:gd name="connsiteY4" fmla="*/ 4239132 h 4637103"/>
              <a:gd name="connsiteX5" fmla="*/ 6857998 w 6857998"/>
              <a:gd name="connsiteY5" fmla="*/ 4637103 h 4637103"/>
              <a:gd name="connsiteX6" fmla="*/ 6767370 w 6857998"/>
              <a:gd name="connsiteY6" fmla="*/ 4637103 h 4637103"/>
              <a:gd name="connsiteX7" fmla="*/ 6775774 w 6857998"/>
              <a:gd name="connsiteY7" fmla="*/ 4511034 h 4637103"/>
              <a:gd name="connsiteX8" fmla="*/ 6746754 w 6857998"/>
              <a:gd name="connsiteY8" fmla="*/ 4414300 h 4637103"/>
              <a:gd name="connsiteX9" fmla="*/ 6727407 w 6857998"/>
              <a:gd name="connsiteY9" fmla="*/ 4394953 h 4637103"/>
              <a:gd name="connsiteX10" fmla="*/ 6717734 w 6857998"/>
              <a:gd name="connsiteY10" fmla="*/ 4365933 h 4637103"/>
              <a:gd name="connsiteX11" fmla="*/ 6702953 w 6857998"/>
              <a:gd name="connsiteY11" fmla="*/ 4342784 h 4637103"/>
              <a:gd name="connsiteX12" fmla="*/ 6691276 w 6857998"/>
              <a:gd name="connsiteY12" fmla="*/ 4341650 h 4637103"/>
              <a:gd name="connsiteX13" fmla="*/ 6697080 w 6857998"/>
              <a:gd name="connsiteY13" fmla="*/ 4339335 h 4637103"/>
              <a:gd name="connsiteX14" fmla="*/ 6697081 w 6857998"/>
              <a:gd name="connsiteY14" fmla="*/ 4341718 h 4637103"/>
              <a:gd name="connsiteX15" fmla="*/ 6695167 w 6857998"/>
              <a:gd name="connsiteY15" fmla="*/ 4349309 h 4637103"/>
              <a:gd name="connsiteX16" fmla="*/ 6692201 w 6857998"/>
              <a:gd name="connsiteY16" fmla="*/ 4343472 h 4637103"/>
              <a:gd name="connsiteX17" fmla="*/ 6696919 w 6857998"/>
              <a:gd name="connsiteY17" fmla="*/ 4341228 h 4637103"/>
              <a:gd name="connsiteX18" fmla="*/ 6696877 w 6857998"/>
              <a:gd name="connsiteY18" fmla="*/ 4340187 h 4637103"/>
              <a:gd name="connsiteX19" fmla="*/ 6691488 w 6857998"/>
              <a:gd name="connsiteY19" fmla="*/ 4342069 h 4637103"/>
              <a:gd name="connsiteX20" fmla="*/ 4978124 w 6857998"/>
              <a:gd name="connsiteY20" fmla="*/ 4637103 h 4637103"/>
              <a:gd name="connsiteX21" fmla="*/ 5005540 w 6857998"/>
              <a:gd name="connsiteY21" fmla="*/ 4627115 h 4637103"/>
              <a:gd name="connsiteX22" fmla="*/ 5305416 w 6857998"/>
              <a:gd name="connsiteY22" fmla="*/ 4385280 h 4637103"/>
              <a:gd name="connsiteX23" fmla="*/ 5372742 w 6857998"/>
              <a:gd name="connsiteY23" fmla="*/ 4355358 h 4637103"/>
              <a:gd name="connsiteX24" fmla="*/ 5373130 w 6857998"/>
              <a:gd name="connsiteY24" fmla="*/ 4385280 h 4637103"/>
              <a:gd name="connsiteX25" fmla="*/ 5382803 w 6857998"/>
              <a:gd name="connsiteY25" fmla="*/ 4452993 h 4637103"/>
              <a:gd name="connsiteX26" fmla="*/ 5402150 w 6857998"/>
              <a:gd name="connsiteY26" fmla="*/ 4598094 h 4637103"/>
              <a:gd name="connsiteX27" fmla="*/ 5411823 w 6857998"/>
              <a:gd name="connsiteY27" fmla="*/ 4636788 h 4637103"/>
              <a:gd name="connsiteX28" fmla="*/ 5412033 w 6857998"/>
              <a:gd name="connsiteY28" fmla="*/ 4637103 h 4637103"/>
              <a:gd name="connsiteX29" fmla="*/ 0 w 6857998"/>
              <a:gd name="connsiteY29" fmla="*/ 3517088 h 4637103"/>
              <a:gd name="connsiteX30" fmla="*/ 0 w 6857998"/>
              <a:gd name="connsiteY30" fmla="*/ 0 h 4637103"/>
              <a:gd name="connsiteX31" fmla="*/ 6857998 w 6857998"/>
              <a:gd name="connsiteY31" fmla="*/ 0 h 4637103"/>
              <a:gd name="connsiteX32" fmla="*/ 6857998 w 6857998"/>
              <a:gd name="connsiteY32" fmla="*/ 2559425 h 4637103"/>
              <a:gd name="connsiteX33" fmla="*/ 6843488 w 6857998"/>
              <a:gd name="connsiteY33" fmla="*/ 2537659 h 4637103"/>
              <a:gd name="connsiteX34" fmla="*/ 6833815 w 6857998"/>
              <a:gd name="connsiteY34" fmla="*/ 2508639 h 4637103"/>
              <a:gd name="connsiteX35" fmla="*/ 6814467 w 6857998"/>
              <a:gd name="connsiteY35" fmla="*/ 2450599 h 4637103"/>
              <a:gd name="connsiteX36" fmla="*/ 6795121 w 6857998"/>
              <a:gd name="connsiteY36" fmla="*/ 2382885 h 4637103"/>
              <a:gd name="connsiteX37" fmla="*/ 6766101 w 6857998"/>
              <a:gd name="connsiteY37" fmla="*/ 2373211 h 4637103"/>
              <a:gd name="connsiteX38" fmla="*/ 6737080 w 6857998"/>
              <a:gd name="connsiteY38" fmla="*/ 2305497 h 4637103"/>
              <a:gd name="connsiteX39" fmla="*/ 6727407 w 6857998"/>
              <a:gd name="connsiteY39" fmla="*/ 2276477 h 4637103"/>
              <a:gd name="connsiteX40" fmla="*/ 6708060 w 6857998"/>
              <a:gd name="connsiteY40" fmla="*/ 2257130 h 4637103"/>
              <a:gd name="connsiteX41" fmla="*/ 6679040 w 6857998"/>
              <a:gd name="connsiteY41" fmla="*/ 2218437 h 4637103"/>
              <a:gd name="connsiteX42" fmla="*/ 6630673 w 6857998"/>
              <a:gd name="connsiteY42" fmla="*/ 2160397 h 4637103"/>
              <a:gd name="connsiteX43" fmla="*/ 6543613 w 6857998"/>
              <a:gd name="connsiteY43" fmla="*/ 2150723 h 4637103"/>
              <a:gd name="connsiteX44" fmla="*/ 6504919 w 6857998"/>
              <a:gd name="connsiteY44" fmla="*/ 2199089 h 4637103"/>
              <a:gd name="connsiteX45" fmla="*/ 6485572 w 6857998"/>
              <a:gd name="connsiteY45" fmla="*/ 2218437 h 4637103"/>
              <a:gd name="connsiteX46" fmla="*/ 6475899 w 6857998"/>
              <a:gd name="connsiteY46" fmla="*/ 2286150 h 4637103"/>
              <a:gd name="connsiteX47" fmla="*/ 6485572 w 6857998"/>
              <a:gd name="connsiteY47" fmla="*/ 2315170 h 4637103"/>
              <a:gd name="connsiteX48" fmla="*/ 6524265 w 6857998"/>
              <a:gd name="connsiteY48" fmla="*/ 2402231 h 4637103"/>
              <a:gd name="connsiteX49" fmla="*/ 6553285 w 6857998"/>
              <a:gd name="connsiteY49" fmla="*/ 2421579 h 4637103"/>
              <a:gd name="connsiteX50" fmla="*/ 6640346 w 6857998"/>
              <a:gd name="connsiteY50" fmla="*/ 2460271 h 4637103"/>
              <a:gd name="connsiteX51" fmla="*/ 6650020 w 6857998"/>
              <a:gd name="connsiteY51" fmla="*/ 2527985 h 4637103"/>
              <a:gd name="connsiteX52" fmla="*/ 6630673 w 6857998"/>
              <a:gd name="connsiteY52" fmla="*/ 2586026 h 4637103"/>
              <a:gd name="connsiteX53" fmla="*/ 6611326 w 6857998"/>
              <a:gd name="connsiteY53" fmla="*/ 2605373 h 4637103"/>
              <a:gd name="connsiteX54" fmla="*/ 6591979 w 6857998"/>
              <a:gd name="connsiteY54" fmla="*/ 2634393 h 4637103"/>
              <a:gd name="connsiteX55" fmla="*/ 6562959 w 6857998"/>
              <a:gd name="connsiteY55" fmla="*/ 2702107 h 4637103"/>
              <a:gd name="connsiteX56" fmla="*/ 6543613 w 6857998"/>
              <a:gd name="connsiteY56" fmla="*/ 2760147 h 4637103"/>
              <a:gd name="connsiteX57" fmla="*/ 6379164 w 6857998"/>
              <a:gd name="connsiteY57" fmla="*/ 2760147 h 4637103"/>
              <a:gd name="connsiteX58" fmla="*/ 6369491 w 6857998"/>
              <a:gd name="connsiteY58" fmla="*/ 2731127 h 4637103"/>
              <a:gd name="connsiteX59" fmla="*/ 6359818 w 6857998"/>
              <a:gd name="connsiteY59" fmla="*/ 2702107 h 4637103"/>
              <a:gd name="connsiteX60" fmla="*/ 6340471 w 6857998"/>
              <a:gd name="connsiteY60" fmla="*/ 2644067 h 4637103"/>
              <a:gd name="connsiteX61" fmla="*/ 6214717 w 6857998"/>
              <a:gd name="connsiteY61" fmla="*/ 2615046 h 4637103"/>
              <a:gd name="connsiteX62" fmla="*/ 6185696 w 6857998"/>
              <a:gd name="connsiteY62" fmla="*/ 2634393 h 4637103"/>
              <a:gd name="connsiteX63" fmla="*/ 6147002 w 6857998"/>
              <a:gd name="connsiteY63" fmla="*/ 2673087 h 4637103"/>
              <a:gd name="connsiteX64" fmla="*/ 6117982 w 6857998"/>
              <a:gd name="connsiteY64" fmla="*/ 2682761 h 4637103"/>
              <a:gd name="connsiteX65" fmla="*/ 5972881 w 6857998"/>
              <a:gd name="connsiteY65" fmla="*/ 2711781 h 4637103"/>
              <a:gd name="connsiteX66" fmla="*/ 5943861 w 6857998"/>
              <a:gd name="connsiteY66" fmla="*/ 2721453 h 4637103"/>
              <a:gd name="connsiteX67" fmla="*/ 5895494 w 6857998"/>
              <a:gd name="connsiteY67" fmla="*/ 2750473 h 4637103"/>
              <a:gd name="connsiteX68" fmla="*/ 5876148 w 6857998"/>
              <a:gd name="connsiteY68" fmla="*/ 2769821 h 4637103"/>
              <a:gd name="connsiteX69" fmla="*/ 5847126 w 6857998"/>
              <a:gd name="connsiteY69" fmla="*/ 2789167 h 4637103"/>
              <a:gd name="connsiteX70" fmla="*/ 5837454 w 6857998"/>
              <a:gd name="connsiteY70" fmla="*/ 2818188 h 4637103"/>
              <a:gd name="connsiteX71" fmla="*/ 5818106 w 6857998"/>
              <a:gd name="connsiteY71" fmla="*/ 2847208 h 4637103"/>
              <a:gd name="connsiteX72" fmla="*/ 5779413 w 6857998"/>
              <a:gd name="connsiteY72" fmla="*/ 2905248 h 4637103"/>
              <a:gd name="connsiteX73" fmla="*/ 5740719 w 6857998"/>
              <a:gd name="connsiteY73" fmla="*/ 2982636 h 4637103"/>
              <a:gd name="connsiteX74" fmla="*/ 5711699 w 6857998"/>
              <a:gd name="connsiteY74" fmla="*/ 2992309 h 4637103"/>
              <a:gd name="connsiteX75" fmla="*/ 5692353 w 6857998"/>
              <a:gd name="connsiteY75" fmla="*/ 3011657 h 4637103"/>
              <a:gd name="connsiteX76" fmla="*/ 5663332 w 6857998"/>
              <a:gd name="connsiteY76" fmla="*/ 3021329 h 4637103"/>
              <a:gd name="connsiteX77" fmla="*/ 5537578 w 6857998"/>
              <a:gd name="connsiteY77" fmla="*/ 3050349 h 4637103"/>
              <a:gd name="connsiteX78" fmla="*/ 5489211 w 6857998"/>
              <a:gd name="connsiteY78" fmla="*/ 3089043 h 4637103"/>
              <a:gd name="connsiteX79" fmla="*/ 5457281 w 6857998"/>
              <a:gd name="connsiteY79" fmla="*/ 3101119 h 4637103"/>
              <a:gd name="connsiteX80" fmla="*/ 5447532 w 6857998"/>
              <a:gd name="connsiteY80" fmla="*/ 3111169 h 4637103"/>
              <a:gd name="connsiteX81" fmla="*/ 5199009 w 6857998"/>
              <a:gd name="connsiteY81" fmla="*/ 3127737 h 4637103"/>
              <a:gd name="connsiteX82" fmla="*/ 5102275 w 6857998"/>
              <a:gd name="connsiteY82" fmla="*/ 4201485 h 4637103"/>
              <a:gd name="connsiteX83" fmla="*/ 4725831 w 6857998"/>
              <a:gd name="connsiteY83" fmla="*/ 4333240 h 4637103"/>
              <a:gd name="connsiteX84" fmla="*/ 4715338 w 6857998"/>
              <a:gd name="connsiteY84" fmla="*/ 4317566 h 4637103"/>
              <a:gd name="connsiteX85" fmla="*/ 4695991 w 6857998"/>
              <a:gd name="connsiteY85" fmla="*/ 4278872 h 4637103"/>
              <a:gd name="connsiteX86" fmla="*/ 4647624 w 6857998"/>
              <a:gd name="connsiteY86" fmla="*/ 4249852 h 4637103"/>
              <a:gd name="connsiteX87" fmla="*/ 4618604 w 6857998"/>
              <a:gd name="connsiteY87" fmla="*/ 4249852 h 4637103"/>
              <a:gd name="connsiteX88" fmla="*/ 4550890 w 6857998"/>
              <a:gd name="connsiteY88" fmla="*/ 4191811 h 4637103"/>
              <a:gd name="connsiteX89" fmla="*/ 4531543 w 6857998"/>
              <a:gd name="connsiteY89" fmla="*/ 4162791 h 4637103"/>
              <a:gd name="connsiteX90" fmla="*/ 4502523 w 6857998"/>
              <a:gd name="connsiteY90" fmla="*/ 4153119 h 4637103"/>
              <a:gd name="connsiteX91" fmla="*/ 4463830 w 6857998"/>
              <a:gd name="connsiteY91" fmla="*/ 4104751 h 4637103"/>
              <a:gd name="connsiteX92" fmla="*/ 4434810 w 6857998"/>
              <a:gd name="connsiteY92" fmla="*/ 4095078 h 4637103"/>
              <a:gd name="connsiteX93" fmla="*/ 4299381 w 6857998"/>
              <a:gd name="connsiteY93" fmla="*/ 4085404 h 4637103"/>
              <a:gd name="connsiteX94" fmla="*/ 4270361 w 6857998"/>
              <a:gd name="connsiteY94" fmla="*/ 4056384 h 4637103"/>
              <a:gd name="connsiteX95" fmla="*/ 4251014 w 6857998"/>
              <a:gd name="connsiteY95" fmla="*/ 4027364 h 4637103"/>
              <a:gd name="connsiteX96" fmla="*/ 4231668 w 6857998"/>
              <a:gd name="connsiteY96" fmla="*/ 3891937 h 4637103"/>
              <a:gd name="connsiteX97" fmla="*/ 4212320 w 6857998"/>
              <a:gd name="connsiteY97" fmla="*/ 3872589 h 4637103"/>
              <a:gd name="connsiteX98" fmla="*/ 4173628 w 6857998"/>
              <a:gd name="connsiteY98" fmla="*/ 3814549 h 4637103"/>
              <a:gd name="connsiteX99" fmla="*/ 4134934 w 6857998"/>
              <a:gd name="connsiteY99" fmla="*/ 3775855 h 4637103"/>
              <a:gd name="connsiteX100" fmla="*/ 3777017 w 6857998"/>
              <a:gd name="connsiteY100" fmla="*/ 3775855 h 4637103"/>
              <a:gd name="connsiteX101" fmla="*/ 3757671 w 6857998"/>
              <a:gd name="connsiteY101" fmla="*/ 3795202 h 4637103"/>
              <a:gd name="connsiteX102" fmla="*/ 3728651 w 6857998"/>
              <a:gd name="connsiteY102" fmla="*/ 3814549 h 4637103"/>
              <a:gd name="connsiteX103" fmla="*/ 3718977 w 6857998"/>
              <a:gd name="connsiteY103" fmla="*/ 3920957 h 4637103"/>
              <a:gd name="connsiteX104" fmla="*/ 3699630 w 6857998"/>
              <a:gd name="connsiteY104" fmla="*/ 3949977 h 4637103"/>
              <a:gd name="connsiteX105" fmla="*/ 3641590 w 6857998"/>
              <a:gd name="connsiteY105" fmla="*/ 3988670 h 4637103"/>
              <a:gd name="connsiteX106" fmla="*/ 3593222 w 6857998"/>
              <a:gd name="connsiteY106" fmla="*/ 4017690 h 4637103"/>
              <a:gd name="connsiteX107" fmla="*/ 3564202 w 6857998"/>
              <a:gd name="connsiteY107" fmla="*/ 4027364 h 4637103"/>
              <a:gd name="connsiteX108" fmla="*/ 3477141 w 6857998"/>
              <a:gd name="connsiteY108" fmla="*/ 4046710 h 4637103"/>
              <a:gd name="connsiteX109" fmla="*/ 3467693 w 6857998"/>
              <a:gd name="connsiteY109" fmla="*/ 4047385 h 4637103"/>
              <a:gd name="connsiteX110" fmla="*/ 3467468 w 6857998"/>
              <a:gd name="connsiteY110" fmla="*/ 4046710 h 4637103"/>
              <a:gd name="connsiteX111" fmla="*/ 3428774 w 6857998"/>
              <a:gd name="connsiteY111" fmla="*/ 3988670 h 4637103"/>
              <a:gd name="connsiteX112" fmla="*/ 3409428 w 6857998"/>
              <a:gd name="connsiteY112" fmla="*/ 3959650 h 4637103"/>
              <a:gd name="connsiteX113" fmla="*/ 3390080 w 6857998"/>
              <a:gd name="connsiteY113" fmla="*/ 3940303 h 4637103"/>
              <a:gd name="connsiteX114" fmla="*/ 3361060 w 6857998"/>
              <a:gd name="connsiteY114" fmla="*/ 3920957 h 4637103"/>
              <a:gd name="connsiteX115" fmla="*/ 3322367 w 6857998"/>
              <a:gd name="connsiteY115" fmla="*/ 3872589 h 4637103"/>
              <a:gd name="connsiteX116" fmla="*/ 3303020 w 6857998"/>
              <a:gd name="connsiteY116" fmla="*/ 3785529 h 4637103"/>
              <a:gd name="connsiteX117" fmla="*/ 3264327 w 6857998"/>
              <a:gd name="connsiteY117" fmla="*/ 3727488 h 4637103"/>
              <a:gd name="connsiteX118" fmla="*/ 3254653 w 6857998"/>
              <a:gd name="connsiteY118" fmla="*/ 3698468 h 4637103"/>
              <a:gd name="connsiteX119" fmla="*/ 3235307 w 6857998"/>
              <a:gd name="connsiteY119" fmla="*/ 3669448 h 4637103"/>
              <a:gd name="connsiteX120" fmla="*/ 3196613 w 6857998"/>
              <a:gd name="connsiteY120" fmla="*/ 3582387 h 4637103"/>
              <a:gd name="connsiteX121" fmla="*/ 3215959 w 6857998"/>
              <a:gd name="connsiteY121" fmla="*/ 3224471 h 4637103"/>
              <a:gd name="connsiteX122" fmla="*/ 3235307 w 6857998"/>
              <a:gd name="connsiteY122" fmla="*/ 3127737 h 4637103"/>
              <a:gd name="connsiteX123" fmla="*/ 3254653 w 6857998"/>
              <a:gd name="connsiteY123" fmla="*/ 3069697 h 4637103"/>
              <a:gd name="connsiteX124" fmla="*/ 3244979 w 6857998"/>
              <a:gd name="connsiteY124" fmla="*/ 2943942 h 4637103"/>
              <a:gd name="connsiteX125" fmla="*/ 3215959 w 6857998"/>
              <a:gd name="connsiteY125" fmla="*/ 2924596 h 4637103"/>
              <a:gd name="connsiteX126" fmla="*/ 2800002 w 6857998"/>
              <a:gd name="connsiteY126" fmla="*/ 2914922 h 4637103"/>
              <a:gd name="connsiteX127" fmla="*/ 2770982 w 6857998"/>
              <a:gd name="connsiteY127" fmla="*/ 2905248 h 4637103"/>
              <a:gd name="connsiteX128" fmla="*/ 2741962 w 6857998"/>
              <a:gd name="connsiteY128" fmla="*/ 2885902 h 4637103"/>
              <a:gd name="connsiteX129" fmla="*/ 2664575 w 6857998"/>
              <a:gd name="connsiteY129" fmla="*/ 2895576 h 4637103"/>
              <a:gd name="connsiteX130" fmla="*/ 2596861 w 6857998"/>
              <a:gd name="connsiteY130" fmla="*/ 2934269 h 4637103"/>
              <a:gd name="connsiteX131" fmla="*/ 2577515 w 6857998"/>
              <a:gd name="connsiteY131" fmla="*/ 2963289 h 4637103"/>
              <a:gd name="connsiteX132" fmla="*/ 2500128 w 6857998"/>
              <a:gd name="connsiteY132" fmla="*/ 3060023 h 4637103"/>
              <a:gd name="connsiteX133" fmla="*/ 2490454 w 6857998"/>
              <a:gd name="connsiteY133" fmla="*/ 3089043 h 4637103"/>
              <a:gd name="connsiteX134" fmla="*/ 2480780 w 6857998"/>
              <a:gd name="connsiteY134" fmla="*/ 3379245 h 4637103"/>
              <a:gd name="connsiteX135" fmla="*/ 2451760 w 6857998"/>
              <a:gd name="connsiteY135" fmla="*/ 3427612 h 4637103"/>
              <a:gd name="connsiteX136" fmla="*/ 2335679 w 6857998"/>
              <a:gd name="connsiteY136" fmla="*/ 3379245 h 4637103"/>
              <a:gd name="connsiteX137" fmla="*/ 2277639 w 6857998"/>
              <a:gd name="connsiteY137" fmla="*/ 3292185 h 4637103"/>
              <a:gd name="connsiteX138" fmla="*/ 2258292 w 6857998"/>
              <a:gd name="connsiteY138" fmla="*/ 3263165 h 4637103"/>
              <a:gd name="connsiteX139" fmla="*/ 2238946 w 6857998"/>
              <a:gd name="connsiteY139" fmla="*/ 3127737 h 4637103"/>
              <a:gd name="connsiteX140" fmla="*/ 2229272 w 6857998"/>
              <a:gd name="connsiteY140" fmla="*/ 3098717 h 4637103"/>
              <a:gd name="connsiteX141" fmla="*/ 2190578 w 6857998"/>
              <a:gd name="connsiteY141" fmla="*/ 3050349 h 4637103"/>
              <a:gd name="connsiteX142" fmla="*/ 2151885 w 6857998"/>
              <a:gd name="connsiteY142" fmla="*/ 3040677 h 4637103"/>
              <a:gd name="connsiteX143" fmla="*/ 2006784 w 6857998"/>
              <a:gd name="connsiteY143" fmla="*/ 3021329 h 4637103"/>
              <a:gd name="connsiteX144" fmla="*/ 1977764 w 6857998"/>
              <a:gd name="connsiteY144" fmla="*/ 3001983 h 4637103"/>
              <a:gd name="connsiteX145" fmla="*/ 1948743 w 6857998"/>
              <a:gd name="connsiteY145" fmla="*/ 2992309 h 4637103"/>
              <a:gd name="connsiteX146" fmla="*/ 1900376 w 6857998"/>
              <a:gd name="connsiteY146" fmla="*/ 2943942 h 4637103"/>
              <a:gd name="connsiteX147" fmla="*/ 1842335 w 6857998"/>
              <a:gd name="connsiteY147" fmla="*/ 2924596 h 4637103"/>
              <a:gd name="connsiteX148" fmla="*/ 1697234 w 6857998"/>
              <a:gd name="connsiteY148" fmla="*/ 2943942 h 4637103"/>
              <a:gd name="connsiteX149" fmla="*/ 1668214 w 6857998"/>
              <a:gd name="connsiteY149" fmla="*/ 2963289 h 4637103"/>
              <a:gd name="connsiteX150" fmla="*/ 1629520 w 6857998"/>
              <a:gd name="connsiteY150" fmla="*/ 3001983 h 4637103"/>
              <a:gd name="connsiteX151" fmla="*/ 1639194 w 6857998"/>
              <a:gd name="connsiteY151" fmla="*/ 3118064 h 4637103"/>
              <a:gd name="connsiteX152" fmla="*/ 1697234 w 6857998"/>
              <a:gd name="connsiteY152" fmla="*/ 3137410 h 4637103"/>
              <a:gd name="connsiteX153" fmla="*/ 1706908 w 6857998"/>
              <a:gd name="connsiteY153" fmla="*/ 3330879 h 4637103"/>
              <a:gd name="connsiteX154" fmla="*/ 1881029 w 6857998"/>
              <a:gd name="connsiteY154" fmla="*/ 3350225 h 4637103"/>
              <a:gd name="connsiteX155" fmla="*/ 1929396 w 6857998"/>
              <a:gd name="connsiteY155" fmla="*/ 3388919 h 4637103"/>
              <a:gd name="connsiteX156" fmla="*/ 1958416 w 6857998"/>
              <a:gd name="connsiteY156" fmla="*/ 3398592 h 4637103"/>
              <a:gd name="connsiteX157" fmla="*/ 1977764 w 6857998"/>
              <a:gd name="connsiteY157" fmla="*/ 3417939 h 4637103"/>
              <a:gd name="connsiteX158" fmla="*/ 1997110 w 6857998"/>
              <a:gd name="connsiteY158" fmla="*/ 3446960 h 4637103"/>
              <a:gd name="connsiteX159" fmla="*/ 2026130 w 6857998"/>
              <a:gd name="connsiteY159" fmla="*/ 3543693 h 4637103"/>
              <a:gd name="connsiteX160" fmla="*/ 2151885 w 6857998"/>
              <a:gd name="connsiteY160" fmla="*/ 3543693 h 4637103"/>
              <a:gd name="connsiteX161" fmla="*/ 2209926 w 6857998"/>
              <a:gd name="connsiteY161" fmla="*/ 3524347 h 4637103"/>
              <a:gd name="connsiteX162" fmla="*/ 2287312 w 6857998"/>
              <a:gd name="connsiteY162" fmla="*/ 3534021 h 4637103"/>
              <a:gd name="connsiteX163" fmla="*/ 2403393 w 6857998"/>
              <a:gd name="connsiteY163" fmla="*/ 3563041 h 4637103"/>
              <a:gd name="connsiteX164" fmla="*/ 2413067 w 6857998"/>
              <a:gd name="connsiteY164" fmla="*/ 3592061 h 4637103"/>
              <a:gd name="connsiteX165" fmla="*/ 2403393 w 6857998"/>
              <a:gd name="connsiteY165" fmla="*/ 3630754 h 4637103"/>
              <a:gd name="connsiteX166" fmla="*/ 2345353 w 6857998"/>
              <a:gd name="connsiteY166" fmla="*/ 3650101 h 4637103"/>
              <a:gd name="connsiteX167" fmla="*/ 2316333 w 6857998"/>
              <a:gd name="connsiteY167" fmla="*/ 3659774 h 4637103"/>
              <a:gd name="connsiteX168" fmla="*/ 2287312 w 6857998"/>
              <a:gd name="connsiteY168" fmla="*/ 3669448 h 4637103"/>
              <a:gd name="connsiteX169" fmla="*/ 2229272 w 6857998"/>
              <a:gd name="connsiteY169" fmla="*/ 3679121 h 4637103"/>
              <a:gd name="connsiteX170" fmla="*/ 2238946 w 6857998"/>
              <a:gd name="connsiteY170" fmla="*/ 4317566 h 4637103"/>
              <a:gd name="connsiteX171" fmla="*/ 2258292 w 6857998"/>
              <a:gd name="connsiteY171" fmla="*/ 4346586 h 4637103"/>
              <a:gd name="connsiteX172" fmla="*/ 2248618 w 6857998"/>
              <a:gd name="connsiteY172" fmla="*/ 4511034 h 4637103"/>
              <a:gd name="connsiteX173" fmla="*/ 2246389 w 6857998"/>
              <a:gd name="connsiteY173" fmla="*/ 4511788 h 4637103"/>
              <a:gd name="connsiteX174" fmla="*/ 2238946 w 6857998"/>
              <a:gd name="connsiteY174" fmla="*/ 4482014 h 4637103"/>
              <a:gd name="connsiteX175" fmla="*/ 2219598 w 6857998"/>
              <a:gd name="connsiteY175" fmla="*/ 4423973 h 4637103"/>
              <a:gd name="connsiteX176" fmla="*/ 2074497 w 6857998"/>
              <a:gd name="connsiteY176" fmla="*/ 4385280 h 4637103"/>
              <a:gd name="connsiteX177" fmla="*/ 2055150 w 6857998"/>
              <a:gd name="connsiteY177" fmla="*/ 4365933 h 4637103"/>
              <a:gd name="connsiteX178" fmla="*/ 2026130 w 6857998"/>
              <a:gd name="connsiteY178" fmla="*/ 4346586 h 4637103"/>
              <a:gd name="connsiteX179" fmla="*/ 1948743 w 6857998"/>
              <a:gd name="connsiteY179" fmla="*/ 4336912 h 4637103"/>
              <a:gd name="connsiteX180" fmla="*/ 1890703 w 6857998"/>
              <a:gd name="connsiteY180" fmla="*/ 4317566 h 4637103"/>
              <a:gd name="connsiteX181" fmla="*/ 1793969 w 6857998"/>
              <a:gd name="connsiteY181" fmla="*/ 4307892 h 4637103"/>
              <a:gd name="connsiteX182" fmla="*/ 1735928 w 6857998"/>
              <a:gd name="connsiteY182" fmla="*/ 4191811 h 4637103"/>
              <a:gd name="connsiteX183" fmla="*/ 1281277 w 6857998"/>
              <a:gd name="connsiteY183" fmla="*/ 4191811 h 4637103"/>
              <a:gd name="connsiteX184" fmla="*/ 1232911 w 6857998"/>
              <a:gd name="connsiteY184" fmla="*/ 4162791 h 4637103"/>
              <a:gd name="connsiteX185" fmla="*/ 1174870 w 6857998"/>
              <a:gd name="connsiteY185" fmla="*/ 4143445 h 4637103"/>
              <a:gd name="connsiteX186" fmla="*/ 1145850 w 6857998"/>
              <a:gd name="connsiteY186" fmla="*/ 4133771 h 4637103"/>
              <a:gd name="connsiteX187" fmla="*/ 1039443 w 6857998"/>
              <a:gd name="connsiteY187" fmla="*/ 4124098 h 4637103"/>
              <a:gd name="connsiteX188" fmla="*/ 1020095 w 6857998"/>
              <a:gd name="connsiteY188" fmla="*/ 4104751 h 4637103"/>
              <a:gd name="connsiteX189" fmla="*/ 991075 w 6857998"/>
              <a:gd name="connsiteY189" fmla="*/ 4027364 h 4637103"/>
              <a:gd name="connsiteX190" fmla="*/ 971729 w 6857998"/>
              <a:gd name="connsiteY190" fmla="*/ 3959650 h 4637103"/>
              <a:gd name="connsiteX191" fmla="*/ 874994 w 6857998"/>
              <a:gd name="connsiteY191" fmla="*/ 3882263 h 4637103"/>
              <a:gd name="connsiteX192" fmla="*/ 855648 w 6857998"/>
              <a:gd name="connsiteY192" fmla="*/ 3824222 h 4637103"/>
              <a:gd name="connsiteX193" fmla="*/ 836300 w 6857998"/>
              <a:gd name="connsiteY193" fmla="*/ 3746835 h 4637103"/>
              <a:gd name="connsiteX194" fmla="*/ 807280 w 6857998"/>
              <a:gd name="connsiteY194" fmla="*/ 3717815 h 4637103"/>
              <a:gd name="connsiteX195" fmla="*/ 671853 w 6857998"/>
              <a:gd name="connsiteY195" fmla="*/ 3727488 h 4637103"/>
              <a:gd name="connsiteX196" fmla="*/ 642832 w 6857998"/>
              <a:gd name="connsiteY196" fmla="*/ 3737162 h 4637103"/>
              <a:gd name="connsiteX197" fmla="*/ 604138 w 6857998"/>
              <a:gd name="connsiteY197" fmla="*/ 3824222 h 4637103"/>
              <a:gd name="connsiteX198" fmla="*/ 584792 w 6857998"/>
              <a:gd name="connsiteY198" fmla="*/ 3853243 h 4637103"/>
              <a:gd name="connsiteX199" fmla="*/ 371977 w 6857998"/>
              <a:gd name="connsiteY199" fmla="*/ 3843569 h 4637103"/>
              <a:gd name="connsiteX200" fmla="*/ 342957 w 6857998"/>
              <a:gd name="connsiteY200" fmla="*/ 3824222 h 4637103"/>
              <a:gd name="connsiteX201" fmla="*/ 275243 w 6857998"/>
              <a:gd name="connsiteY201" fmla="*/ 3746835 h 4637103"/>
              <a:gd name="connsiteX202" fmla="*/ 197856 w 6857998"/>
              <a:gd name="connsiteY202" fmla="*/ 3727488 h 4637103"/>
              <a:gd name="connsiteX203" fmla="*/ 168835 w 6857998"/>
              <a:gd name="connsiteY203" fmla="*/ 3698468 h 4637103"/>
              <a:gd name="connsiteX204" fmla="*/ 159163 w 6857998"/>
              <a:gd name="connsiteY204" fmla="*/ 3669448 h 4637103"/>
              <a:gd name="connsiteX205" fmla="*/ 168835 w 6857998"/>
              <a:gd name="connsiteY205" fmla="*/ 3640427 h 4637103"/>
              <a:gd name="connsiteX206" fmla="*/ 188183 w 6857998"/>
              <a:gd name="connsiteY206" fmla="*/ 3621081 h 4637103"/>
              <a:gd name="connsiteX207" fmla="*/ 178509 w 6857998"/>
              <a:gd name="connsiteY207" fmla="*/ 3534021 h 4637103"/>
              <a:gd name="connsiteX208" fmla="*/ 130142 w 6857998"/>
              <a:gd name="connsiteY208" fmla="*/ 3495327 h 4637103"/>
              <a:gd name="connsiteX209" fmla="*/ 14061 w 6857998"/>
              <a:gd name="connsiteY209" fmla="*/ 3505000 h 4637103"/>
              <a:gd name="connsiteX210" fmla="*/ 3180 w 6857998"/>
              <a:gd name="connsiteY210" fmla="*/ 3512719 h 4637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6857998" h="4637103">
                <a:moveTo>
                  <a:pt x="6698892" y="4338612"/>
                </a:moveTo>
                <a:lnTo>
                  <a:pt x="6727407" y="4327240"/>
                </a:lnTo>
                <a:cubicBezTo>
                  <a:pt x="6762321" y="4313274"/>
                  <a:pt x="6791897" y="4288546"/>
                  <a:pt x="6824141" y="4269199"/>
                </a:cubicBezTo>
                <a:cubicBezTo>
                  <a:pt x="6828618" y="4266513"/>
                  <a:pt x="6835303" y="4261114"/>
                  <a:pt x="6843062" y="4254028"/>
                </a:cubicBezTo>
                <a:lnTo>
                  <a:pt x="6857998" y="4239132"/>
                </a:lnTo>
                <a:lnTo>
                  <a:pt x="6857998" y="4637103"/>
                </a:lnTo>
                <a:lnTo>
                  <a:pt x="6767370" y="4637103"/>
                </a:lnTo>
                <a:lnTo>
                  <a:pt x="6775774" y="4511034"/>
                </a:lnTo>
                <a:cubicBezTo>
                  <a:pt x="6768832" y="4483265"/>
                  <a:pt x="6758528" y="4437847"/>
                  <a:pt x="6746754" y="4414300"/>
                </a:cubicBezTo>
                <a:cubicBezTo>
                  <a:pt x="6742676" y="4406142"/>
                  <a:pt x="6733856" y="4401402"/>
                  <a:pt x="6727407" y="4394953"/>
                </a:cubicBezTo>
                <a:cubicBezTo>
                  <a:pt x="6724182" y="4385279"/>
                  <a:pt x="6722981" y="4374676"/>
                  <a:pt x="6717734" y="4365933"/>
                </a:cubicBezTo>
                <a:cubicBezTo>
                  <a:pt x="6710985" y="4354684"/>
                  <a:pt x="6706226" y="4347309"/>
                  <a:pt x="6702953" y="4342784"/>
                </a:cubicBezTo>
                <a:close/>
                <a:moveTo>
                  <a:pt x="6691276" y="4341650"/>
                </a:moveTo>
                <a:lnTo>
                  <a:pt x="6697080" y="4339335"/>
                </a:lnTo>
                <a:lnTo>
                  <a:pt x="6697081" y="4341718"/>
                </a:lnTo>
                <a:cubicBezTo>
                  <a:pt x="6699652" y="4352956"/>
                  <a:pt x="6709798" y="4377227"/>
                  <a:pt x="6695167" y="4349309"/>
                </a:cubicBezTo>
                <a:lnTo>
                  <a:pt x="6692201" y="4343472"/>
                </a:lnTo>
                <a:lnTo>
                  <a:pt x="6696919" y="4341228"/>
                </a:lnTo>
                <a:cubicBezTo>
                  <a:pt x="6699986" y="4339557"/>
                  <a:pt x="6699402" y="4339445"/>
                  <a:pt x="6696877" y="4340187"/>
                </a:cubicBezTo>
                <a:lnTo>
                  <a:pt x="6691488" y="4342069"/>
                </a:lnTo>
                <a:close/>
                <a:moveTo>
                  <a:pt x="4978124" y="4637103"/>
                </a:moveTo>
                <a:lnTo>
                  <a:pt x="5005540" y="4627115"/>
                </a:lnTo>
                <a:lnTo>
                  <a:pt x="5305416" y="4385280"/>
                </a:lnTo>
                <a:lnTo>
                  <a:pt x="5372742" y="4355358"/>
                </a:lnTo>
                <a:lnTo>
                  <a:pt x="5373130" y="4385280"/>
                </a:lnTo>
                <a:cubicBezTo>
                  <a:pt x="5373673" y="4408074"/>
                  <a:pt x="5379975" y="4430369"/>
                  <a:pt x="5382803" y="4452993"/>
                </a:cubicBezTo>
                <a:cubicBezTo>
                  <a:pt x="5391408" y="4521831"/>
                  <a:pt x="5389850" y="4536588"/>
                  <a:pt x="5402150" y="4598094"/>
                </a:cubicBezTo>
                <a:cubicBezTo>
                  <a:pt x="5404757" y="4611131"/>
                  <a:pt x="5406586" y="4624568"/>
                  <a:pt x="5411823" y="4636788"/>
                </a:cubicBezTo>
                <a:lnTo>
                  <a:pt x="5412033" y="4637103"/>
                </a:lnTo>
                <a:close/>
                <a:moveTo>
                  <a:pt x="0" y="3517088"/>
                </a:moveTo>
                <a:lnTo>
                  <a:pt x="0" y="0"/>
                </a:lnTo>
                <a:lnTo>
                  <a:pt x="6857998" y="0"/>
                </a:lnTo>
                <a:lnTo>
                  <a:pt x="6857998" y="2559425"/>
                </a:lnTo>
                <a:lnTo>
                  <a:pt x="6843488" y="2537659"/>
                </a:lnTo>
                <a:lnTo>
                  <a:pt x="6833815" y="2508639"/>
                </a:lnTo>
                <a:cubicBezTo>
                  <a:pt x="6827366" y="2489293"/>
                  <a:pt x="6820327" y="2470133"/>
                  <a:pt x="6814467" y="2450599"/>
                </a:cubicBezTo>
                <a:cubicBezTo>
                  <a:pt x="6814358" y="2450237"/>
                  <a:pt x="6799767" y="2387531"/>
                  <a:pt x="6795121" y="2382885"/>
                </a:cubicBezTo>
                <a:cubicBezTo>
                  <a:pt x="6787911" y="2375674"/>
                  <a:pt x="6775774" y="2376435"/>
                  <a:pt x="6766101" y="2373211"/>
                </a:cubicBezTo>
                <a:cubicBezTo>
                  <a:pt x="6745968" y="2292683"/>
                  <a:pt x="6770482" y="2372301"/>
                  <a:pt x="6737080" y="2305497"/>
                </a:cubicBezTo>
                <a:cubicBezTo>
                  <a:pt x="6732520" y="2296377"/>
                  <a:pt x="6732653" y="2285221"/>
                  <a:pt x="6727407" y="2276477"/>
                </a:cubicBezTo>
                <a:cubicBezTo>
                  <a:pt x="6722715" y="2268657"/>
                  <a:pt x="6713899" y="2264136"/>
                  <a:pt x="6708060" y="2257130"/>
                </a:cubicBezTo>
                <a:cubicBezTo>
                  <a:pt x="6697739" y="2244744"/>
                  <a:pt x="6688411" y="2231556"/>
                  <a:pt x="6679040" y="2218437"/>
                </a:cubicBezTo>
                <a:cubicBezTo>
                  <a:pt x="6669360" y="2204884"/>
                  <a:pt x="6647611" y="2166042"/>
                  <a:pt x="6630673" y="2160397"/>
                </a:cubicBezTo>
                <a:cubicBezTo>
                  <a:pt x="6602973" y="2151163"/>
                  <a:pt x="6572633" y="2153947"/>
                  <a:pt x="6543613" y="2150723"/>
                </a:cubicBezTo>
                <a:cubicBezTo>
                  <a:pt x="6496908" y="2197425"/>
                  <a:pt x="6553718" y="2138087"/>
                  <a:pt x="6504919" y="2199089"/>
                </a:cubicBezTo>
                <a:cubicBezTo>
                  <a:pt x="6499221" y="2206211"/>
                  <a:pt x="6488457" y="2209784"/>
                  <a:pt x="6485572" y="2218437"/>
                </a:cubicBezTo>
                <a:cubicBezTo>
                  <a:pt x="6478362" y="2240067"/>
                  <a:pt x="6479123" y="2263579"/>
                  <a:pt x="6475899" y="2286150"/>
                </a:cubicBezTo>
                <a:lnTo>
                  <a:pt x="6485572" y="2315170"/>
                </a:lnTo>
                <a:cubicBezTo>
                  <a:pt x="6495151" y="2343906"/>
                  <a:pt x="6501271" y="2379237"/>
                  <a:pt x="6524265" y="2402231"/>
                </a:cubicBezTo>
                <a:cubicBezTo>
                  <a:pt x="6532486" y="2410452"/>
                  <a:pt x="6542256" y="2417902"/>
                  <a:pt x="6553285" y="2421579"/>
                </a:cubicBezTo>
                <a:cubicBezTo>
                  <a:pt x="6587753" y="2433067"/>
                  <a:pt x="6623311" y="2417684"/>
                  <a:pt x="6640346" y="2460271"/>
                </a:cubicBezTo>
                <a:cubicBezTo>
                  <a:pt x="6648814" y="2481441"/>
                  <a:pt x="6646796" y="2505414"/>
                  <a:pt x="6650020" y="2527985"/>
                </a:cubicBezTo>
                <a:cubicBezTo>
                  <a:pt x="6650020" y="2527985"/>
                  <a:pt x="6639794" y="2567785"/>
                  <a:pt x="6630673" y="2586026"/>
                </a:cubicBezTo>
                <a:cubicBezTo>
                  <a:pt x="6626595" y="2594183"/>
                  <a:pt x="6617024" y="2598251"/>
                  <a:pt x="6611326" y="2605373"/>
                </a:cubicBezTo>
                <a:cubicBezTo>
                  <a:pt x="6604063" y="2614450"/>
                  <a:pt x="6597747" y="2624298"/>
                  <a:pt x="6591979" y="2634393"/>
                </a:cubicBezTo>
                <a:cubicBezTo>
                  <a:pt x="6572856" y="2667859"/>
                  <a:pt x="6573811" y="2669552"/>
                  <a:pt x="6562959" y="2702107"/>
                </a:cubicBezTo>
                <a:cubicBezTo>
                  <a:pt x="6556511" y="2721453"/>
                  <a:pt x="6562297" y="2751973"/>
                  <a:pt x="6543613" y="2760147"/>
                </a:cubicBezTo>
                <a:cubicBezTo>
                  <a:pt x="6467157" y="2793597"/>
                  <a:pt x="6435541" y="2778940"/>
                  <a:pt x="6379164" y="2760147"/>
                </a:cubicBezTo>
                <a:lnTo>
                  <a:pt x="6369491" y="2731127"/>
                </a:lnTo>
                <a:lnTo>
                  <a:pt x="6359818" y="2702107"/>
                </a:lnTo>
                <a:cubicBezTo>
                  <a:pt x="6353369" y="2682761"/>
                  <a:pt x="6349591" y="2662307"/>
                  <a:pt x="6340471" y="2644067"/>
                </a:cubicBezTo>
                <a:cubicBezTo>
                  <a:pt x="6319267" y="2601658"/>
                  <a:pt x="6239111" y="2617263"/>
                  <a:pt x="6214717" y="2615046"/>
                </a:cubicBezTo>
                <a:lnTo>
                  <a:pt x="6185696" y="2634393"/>
                </a:lnTo>
                <a:cubicBezTo>
                  <a:pt x="6170519" y="2644511"/>
                  <a:pt x="6161845" y="2662485"/>
                  <a:pt x="6147002" y="2673087"/>
                </a:cubicBezTo>
                <a:cubicBezTo>
                  <a:pt x="6138705" y="2679013"/>
                  <a:pt x="6127656" y="2679536"/>
                  <a:pt x="6117982" y="2682761"/>
                </a:cubicBezTo>
                <a:cubicBezTo>
                  <a:pt x="6071189" y="2698359"/>
                  <a:pt x="6021031" y="2701081"/>
                  <a:pt x="5972881" y="2711781"/>
                </a:cubicBezTo>
                <a:cubicBezTo>
                  <a:pt x="5962927" y="2713993"/>
                  <a:pt x="5953535" y="2718229"/>
                  <a:pt x="5943861" y="2721453"/>
                </a:cubicBezTo>
                <a:cubicBezTo>
                  <a:pt x="5894841" y="2770476"/>
                  <a:pt x="5958281" y="2712801"/>
                  <a:pt x="5895494" y="2750473"/>
                </a:cubicBezTo>
                <a:cubicBezTo>
                  <a:pt x="5887674" y="2755165"/>
                  <a:pt x="5883270" y="2764123"/>
                  <a:pt x="5876148" y="2769821"/>
                </a:cubicBezTo>
                <a:cubicBezTo>
                  <a:pt x="5867069" y="2777083"/>
                  <a:pt x="5856800" y="2782719"/>
                  <a:pt x="5847126" y="2789167"/>
                </a:cubicBezTo>
                <a:lnTo>
                  <a:pt x="5837454" y="2818188"/>
                </a:lnTo>
                <a:cubicBezTo>
                  <a:pt x="5833777" y="2829217"/>
                  <a:pt x="5824556" y="2837534"/>
                  <a:pt x="5818106" y="2847208"/>
                </a:cubicBezTo>
                <a:lnTo>
                  <a:pt x="5779413" y="2905248"/>
                </a:lnTo>
                <a:cubicBezTo>
                  <a:pt x="5753694" y="2943828"/>
                  <a:pt x="5776045" y="2961441"/>
                  <a:pt x="5740719" y="2982636"/>
                </a:cubicBezTo>
                <a:cubicBezTo>
                  <a:pt x="5731976" y="2987883"/>
                  <a:pt x="5721373" y="2989085"/>
                  <a:pt x="5711699" y="2992309"/>
                </a:cubicBezTo>
                <a:lnTo>
                  <a:pt x="5692353" y="3011657"/>
                </a:lnTo>
                <a:cubicBezTo>
                  <a:pt x="5685143" y="3018867"/>
                  <a:pt x="5673006" y="3018105"/>
                  <a:pt x="5663332" y="3021329"/>
                </a:cubicBezTo>
                <a:cubicBezTo>
                  <a:pt x="5583656" y="3047888"/>
                  <a:pt x="5625486" y="3037793"/>
                  <a:pt x="5537578" y="3050349"/>
                </a:cubicBezTo>
                <a:cubicBezTo>
                  <a:pt x="5519581" y="3068346"/>
                  <a:pt x="5513619" y="3076839"/>
                  <a:pt x="5489211" y="3089043"/>
                </a:cubicBezTo>
                <a:cubicBezTo>
                  <a:pt x="5451539" y="3107880"/>
                  <a:pt x="5464425" y="3093529"/>
                  <a:pt x="5457281" y="3101119"/>
                </a:cubicBezTo>
                <a:lnTo>
                  <a:pt x="5447532" y="3111169"/>
                </a:lnTo>
                <a:lnTo>
                  <a:pt x="5199009" y="3127737"/>
                </a:lnTo>
                <a:lnTo>
                  <a:pt x="5102275" y="4201485"/>
                </a:lnTo>
                <a:lnTo>
                  <a:pt x="4725831" y="4333240"/>
                </a:lnTo>
                <a:lnTo>
                  <a:pt x="4715338" y="4317566"/>
                </a:lnTo>
                <a:cubicBezTo>
                  <a:pt x="4708183" y="4305046"/>
                  <a:pt x="4702440" y="4291770"/>
                  <a:pt x="4695991" y="4278872"/>
                </a:cubicBezTo>
                <a:cubicBezTo>
                  <a:pt x="4635733" y="4218616"/>
                  <a:pt x="4722975" y="4300086"/>
                  <a:pt x="4647624" y="4249852"/>
                </a:cubicBezTo>
                <a:cubicBezTo>
                  <a:pt x="4636241" y="4242264"/>
                  <a:pt x="4623440" y="4249852"/>
                  <a:pt x="4618604" y="4249852"/>
                </a:cubicBezTo>
                <a:cubicBezTo>
                  <a:pt x="4596033" y="4230505"/>
                  <a:pt x="4571912" y="4212833"/>
                  <a:pt x="4550890" y="4191811"/>
                </a:cubicBezTo>
                <a:cubicBezTo>
                  <a:pt x="4542669" y="4183590"/>
                  <a:pt x="4540622" y="4170054"/>
                  <a:pt x="4531543" y="4162791"/>
                </a:cubicBezTo>
                <a:cubicBezTo>
                  <a:pt x="4523581" y="4156421"/>
                  <a:pt x="4511266" y="4158365"/>
                  <a:pt x="4502523" y="4153119"/>
                </a:cubicBezTo>
                <a:cubicBezTo>
                  <a:pt x="4487209" y="4143931"/>
                  <a:pt x="4472615" y="4117930"/>
                  <a:pt x="4463830" y="4104751"/>
                </a:cubicBezTo>
                <a:cubicBezTo>
                  <a:pt x="4454156" y="4101527"/>
                  <a:pt x="4444937" y="4096269"/>
                  <a:pt x="4434810" y="4095078"/>
                </a:cubicBezTo>
                <a:cubicBezTo>
                  <a:pt x="4389862" y="4089790"/>
                  <a:pt x="4343436" y="4095770"/>
                  <a:pt x="4299381" y="4085404"/>
                </a:cubicBezTo>
                <a:cubicBezTo>
                  <a:pt x="4286065" y="4082271"/>
                  <a:pt x="4279118" y="4066894"/>
                  <a:pt x="4270361" y="4056384"/>
                </a:cubicBezTo>
                <a:cubicBezTo>
                  <a:pt x="4262919" y="4047452"/>
                  <a:pt x="4255096" y="4038249"/>
                  <a:pt x="4251014" y="4027364"/>
                </a:cubicBezTo>
                <a:cubicBezTo>
                  <a:pt x="4241287" y="4001424"/>
                  <a:pt x="4233082" y="3904664"/>
                  <a:pt x="4231668" y="3891937"/>
                </a:cubicBezTo>
                <a:cubicBezTo>
                  <a:pt x="4225218" y="3885487"/>
                  <a:pt x="4217793" y="3879885"/>
                  <a:pt x="4212320" y="3872589"/>
                </a:cubicBezTo>
                <a:cubicBezTo>
                  <a:pt x="4198370" y="3853988"/>
                  <a:pt x="4190069" y="3830990"/>
                  <a:pt x="4173628" y="3814549"/>
                </a:cubicBezTo>
                <a:lnTo>
                  <a:pt x="4134934" y="3775855"/>
                </a:lnTo>
                <a:cubicBezTo>
                  <a:pt x="4005942" y="3732861"/>
                  <a:pt x="4072219" y="3751254"/>
                  <a:pt x="3777017" y="3775855"/>
                </a:cubicBezTo>
                <a:cubicBezTo>
                  <a:pt x="3767929" y="3776612"/>
                  <a:pt x="3764793" y="3789505"/>
                  <a:pt x="3757671" y="3795202"/>
                </a:cubicBezTo>
                <a:cubicBezTo>
                  <a:pt x="3748593" y="3802465"/>
                  <a:pt x="3732070" y="3803437"/>
                  <a:pt x="3728651" y="3814549"/>
                </a:cubicBezTo>
                <a:cubicBezTo>
                  <a:pt x="3718176" y="3848589"/>
                  <a:pt x="3722201" y="3885487"/>
                  <a:pt x="3718977" y="3920957"/>
                </a:cubicBezTo>
                <a:cubicBezTo>
                  <a:pt x="3712528" y="3930631"/>
                  <a:pt x="3708380" y="3942321"/>
                  <a:pt x="3699630" y="3949977"/>
                </a:cubicBezTo>
                <a:cubicBezTo>
                  <a:pt x="3682132" y="3965289"/>
                  <a:pt x="3663648" y="3981317"/>
                  <a:pt x="3641590" y="3988670"/>
                </a:cubicBezTo>
                <a:cubicBezTo>
                  <a:pt x="3603918" y="4001228"/>
                  <a:pt x="3619780" y="3991134"/>
                  <a:pt x="3593222" y="4017690"/>
                </a:cubicBezTo>
                <a:cubicBezTo>
                  <a:pt x="3583548" y="4020914"/>
                  <a:pt x="3574156" y="4025152"/>
                  <a:pt x="3564202" y="4027364"/>
                </a:cubicBezTo>
                <a:cubicBezTo>
                  <a:pt x="3462043" y="4050066"/>
                  <a:pt x="3542476" y="4024934"/>
                  <a:pt x="3477141" y="4046710"/>
                </a:cubicBezTo>
                <a:lnTo>
                  <a:pt x="3467693" y="4047385"/>
                </a:lnTo>
                <a:lnTo>
                  <a:pt x="3467468" y="4046710"/>
                </a:lnTo>
                <a:lnTo>
                  <a:pt x="3428774" y="3988670"/>
                </a:lnTo>
                <a:cubicBezTo>
                  <a:pt x="3422326" y="3978996"/>
                  <a:pt x="3417649" y="3967870"/>
                  <a:pt x="3409428" y="3959650"/>
                </a:cubicBezTo>
                <a:cubicBezTo>
                  <a:pt x="3402978" y="3953201"/>
                  <a:pt x="3397202" y="3946001"/>
                  <a:pt x="3390080" y="3940303"/>
                </a:cubicBezTo>
                <a:cubicBezTo>
                  <a:pt x="3381002" y="3933041"/>
                  <a:pt x="3370138" y="3928219"/>
                  <a:pt x="3361060" y="3920957"/>
                </a:cubicBezTo>
                <a:cubicBezTo>
                  <a:pt x="3346066" y="3908961"/>
                  <a:pt x="3330747" y="3889347"/>
                  <a:pt x="3322367" y="3872589"/>
                </a:cubicBezTo>
                <a:cubicBezTo>
                  <a:pt x="3310460" y="3848774"/>
                  <a:pt x="3306735" y="3807823"/>
                  <a:pt x="3303020" y="3785529"/>
                </a:cubicBezTo>
                <a:cubicBezTo>
                  <a:pt x="3290122" y="3766182"/>
                  <a:pt x="3271680" y="3749547"/>
                  <a:pt x="3264327" y="3727488"/>
                </a:cubicBezTo>
                <a:cubicBezTo>
                  <a:pt x="3261103" y="3717815"/>
                  <a:pt x="3259213" y="3707588"/>
                  <a:pt x="3254653" y="3698468"/>
                </a:cubicBezTo>
                <a:cubicBezTo>
                  <a:pt x="3249453" y="3688069"/>
                  <a:pt x="3240028" y="3680072"/>
                  <a:pt x="3235307" y="3669448"/>
                </a:cubicBezTo>
                <a:cubicBezTo>
                  <a:pt x="3189260" y="3565843"/>
                  <a:pt x="3240396" y="3648064"/>
                  <a:pt x="3196613" y="3582387"/>
                </a:cubicBezTo>
                <a:cubicBezTo>
                  <a:pt x="3222656" y="3400090"/>
                  <a:pt x="3194145" y="3617131"/>
                  <a:pt x="3215959" y="3224471"/>
                </a:cubicBezTo>
                <a:cubicBezTo>
                  <a:pt x="3217148" y="3203075"/>
                  <a:pt x="3228109" y="3151731"/>
                  <a:pt x="3235307" y="3127737"/>
                </a:cubicBezTo>
                <a:cubicBezTo>
                  <a:pt x="3241167" y="3108205"/>
                  <a:pt x="3254653" y="3069697"/>
                  <a:pt x="3254653" y="3069697"/>
                </a:cubicBezTo>
                <a:cubicBezTo>
                  <a:pt x="3251429" y="3027779"/>
                  <a:pt x="3255813" y="2984565"/>
                  <a:pt x="3244979" y="2943942"/>
                </a:cubicBezTo>
                <a:cubicBezTo>
                  <a:pt x="3241984" y="2932709"/>
                  <a:pt x="3227561" y="2925352"/>
                  <a:pt x="3215959" y="2924596"/>
                </a:cubicBezTo>
                <a:cubicBezTo>
                  <a:pt x="3077564" y="2915571"/>
                  <a:pt x="2938561" y="2920947"/>
                  <a:pt x="2800002" y="2914922"/>
                </a:cubicBezTo>
                <a:cubicBezTo>
                  <a:pt x="2789816" y="2914480"/>
                  <a:pt x="2780103" y="2909809"/>
                  <a:pt x="2770982" y="2905248"/>
                </a:cubicBezTo>
                <a:cubicBezTo>
                  <a:pt x="2760584" y="2900049"/>
                  <a:pt x="2751636" y="2892350"/>
                  <a:pt x="2741962" y="2885902"/>
                </a:cubicBezTo>
                <a:cubicBezTo>
                  <a:pt x="2716166" y="2889126"/>
                  <a:pt x="2689796" y="2889271"/>
                  <a:pt x="2664575" y="2895576"/>
                </a:cubicBezTo>
                <a:cubicBezTo>
                  <a:pt x="2654459" y="2898105"/>
                  <a:pt x="2606456" y="2924673"/>
                  <a:pt x="2596861" y="2934269"/>
                </a:cubicBezTo>
                <a:cubicBezTo>
                  <a:pt x="2588640" y="2942490"/>
                  <a:pt x="2585081" y="2954462"/>
                  <a:pt x="2577515" y="2963289"/>
                </a:cubicBezTo>
                <a:cubicBezTo>
                  <a:pt x="2548694" y="2996913"/>
                  <a:pt x="2515394" y="3014227"/>
                  <a:pt x="2500128" y="3060023"/>
                </a:cubicBezTo>
                <a:cubicBezTo>
                  <a:pt x="2496904" y="3069697"/>
                  <a:pt x="2491070" y="3078865"/>
                  <a:pt x="2490454" y="3089043"/>
                </a:cubicBezTo>
                <a:cubicBezTo>
                  <a:pt x="2484598" y="3185653"/>
                  <a:pt x="2484004" y="3282511"/>
                  <a:pt x="2480780" y="3379245"/>
                </a:cubicBezTo>
                <a:cubicBezTo>
                  <a:pt x="2477437" y="3389276"/>
                  <a:pt x="2470077" y="3425781"/>
                  <a:pt x="2451760" y="3427612"/>
                </a:cubicBezTo>
                <a:cubicBezTo>
                  <a:pt x="2395122" y="3433276"/>
                  <a:pt x="2365497" y="3423973"/>
                  <a:pt x="2335679" y="3379245"/>
                </a:cubicBezTo>
                <a:lnTo>
                  <a:pt x="2277639" y="3292185"/>
                </a:lnTo>
                <a:cubicBezTo>
                  <a:pt x="2271190" y="3282511"/>
                  <a:pt x="2259734" y="3274701"/>
                  <a:pt x="2258292" y="3263165"/>
                </a:cubicBezTo>
                <a:cubicBezTo>
                  <a:pt x="2246185" y="3166316"/>
                  <a:pt x="2252892" y="3211420"/>
                  <a:pt x="2238946" y="3127737"/>
                </a:cubicBezTo>
                <a:cubicBezTo>
                  <a:pt x="2235722" y="3118064"/>
                  <a:pt x="2233832" y="3107837"/>
                  <a:pt x="2229272" y="3098717"/>
                </a:cubicBezTo>
                <a:cubicBezTo>
                  <a:pt x="2217068" y="3074311"/>
                  <a:pt x="2208573" y="3068345"/>
                  <a:pt x="2190578" y="3050349"/>
                </a:cubicBezTo>
                <a:cubicBezTo>
                  <a:pt x="2177680" y="3047125"/>
                  <a:pt x="2165077" y="3042325"/>
                  <a:pt x="2151885" y="3040677"/>
                </a:cubicBezTo>
                <a:cubicBezTo>
                  <a:pt x="2123061" y="3037073"/>
                  <a:pt x="2047056" y="3041466"/>
                  <a:pt x="2006784" y="3021329"/>
                </a:cubicBezTo>
                <a:cubicBezTo>
                  <a:pt x="1996385" y="3016129"/>
                  <a:pt x="1988162" y="3007183"/>
                  <a:pt x="1977764" y="3001983"/>
                </a:cubicBezTo>
                <a:cubicBezTo>
                  <a:pt x="1968643" y="2997423"/>
                  <a:pt x="1956900" y="2998427"/>
                  <a:pt x="1948743" y="2992309"/>
                </a:cubicBezTo>
                <a:cubicBezTo>
                  <a:pt x="1930503" y="2978629"/>
                  <a:pt x="1900376" y="2943942"/>
                  <a:pt x="1900376" y="2943942"/>
                </a:cubicBezTo>
                <a:cubicBezTo>
                  <a:pt x="1881029" y="2937494"/>
                  <a:pt x="1862658" y="2922903"/>
                  <a:pt x="1842335" y="2924596"/>
                </a:cubicBezTo>
                <a:cubicBezTo>
                  <a:pt x="1816391" y="2926758"/>
                  <a:pt x="1736750" y="2924185"/>
                  <a:pt x="1697234" y="2943942"/>
                </a:cubicBezTo>
                <a:cubicBezTo>
                  <a:pt x="1686836" y="2949142"/>
                  <a:pt x="1677041" y="2955722"/>
                  <a:pt x="1668214" y="2963289"/>
                </a:cubicBezTo>
                <a:cubicBezTo>
                  <a:pt x="1654365" y="2975159"/>
                  <a:pt x="1629520" y="3001983"/>
                  <a:pt x="1629520" y="3001983"/>
                </a:cubicBezTo>
                <a:cubicBezTo>
                  <a:pt x="1632744" y="3040677"/>
                  <a:pt x="1621829" y="3083335"/>
                  <a:pt x="1639194" y="3118064"/>
                </a:cubicBezTo>
                <a:cubicBezTo>
                  <a:pt x="1648314" y="3136304"/>
                  <a:pt x="1696215" y="3117043"/>
                  <a:pt x="1697234" y="3137410"/>
                </a:cubicBezTo>
                <a:lnTo>
                  <a:pt x="1706908" y="3330879"/>
                </a:lnTo>
                <a:cubicBezTo>
                  <a:pt x="1801515" y="3362412"/>
                  <a:pt x="1632577" y="3308817"/>
                  <a:pt x="1881029" y="3350225"/>
                </a:cubicBezTo>
                <a:cubicBezTo>
                  <a:pt x="1895675" y="3352666"/>
                  <a:pt x="1919058" y="3378581"/>
                  <a:pt x="1929396" y="3388919"/>
                </a:cubicBezTo>
                <a:cubicBezTo>
                  <a:pt x="1939070" y="3392143"/>
                  <a:pt x="1949673" y="3393345"/>
                  <a:pt x="1958416" y="3398592"/>
                </a:cubicBezTo>
                <a:cubicBezTo>
                  <a:pt x="1966236" y="3403284"/>
                  <a:pt x="1972066" y="3410818"/>
                  <a:pt x="1977764" y="3417939"/>
                </a:cubicBezTo>
                <a:cubicBezTo>
                  <a:pt x="1985026" y="3427019"/>
                  <a:pt x="1992389" y="3436336"/>
                  <a:pt x="1997110" y="3446960"/>
                </a:cubicBezTo>
                <a:cubicBezTo>
                  <a:pt x="2010566" y="3477235"/>
                  <a:pt x="2018091" y="3511538"/>
                  <a:pt x="2026130" y="3543693"/>
                </a:cubicBezTo>
                <a:cubicBezTo>
                  <a:pt x="2080244" y="3561732"/>
                  <a:pt x="2062959" y="3560367"/>
                  <a:pt x="2151885" y="3543693"/>
                </a:cubicBezTo>
                <a:cubicBezTo>
                  <a:pt x="2171929" y="3539935"/>
                  <a:pt x="2209926" y="3524347"/>
                  <a:pt x="2209926" y="3524347"/>
                </a:cubicBezTo>
                <a:cubicBezTo>
                  <a:pt x="2235722" y="3527571"/>
                  <a:pt x="2261475" y="3531149"/>
                  <a:pt x="2287312" y="3534021"/>
                </a:cubicBezTo>
                <a:cubicBezTo>
                  <a:pt x="2329529" y="3538711"/>
                  <a:pt x="2379031" y="3522435"/>
                  <a:pt x="2403393" y="3563041"/>
                </a:cubicBezTo>
                <a:cubicBezTo>
                  <a:pt x="2408640" y="3571784"/>
                  <a:pt x="2409843" y="3582387"/>
                  <a:pt x="2413067" y="3592061"/>
                </a:cubicBezTo>
                <a:cubicBezTo>
                  <a:pt x="2409843" y="3604959"/>
                  <a:pt x="2413488" y="3622102"/>
                  <a:pt x="2403393" y="3630754"/>
                </a:cubicBezTo>
                <a:cubicBezTo>
                  <a:pt x="2387909" y="3644025"/>
                  <a:pt x="2364699" y="3643653"/>
                  <a:pt x="2345353" y="3650101"/>
                </a:cubicBezTo>
                <a:lnTo>
                  <a:pt x="2316333" y="3659774"/>
                </a:lnTo>
                <a:cubicBezTo>
                  <a:pt x="2306659" y="3662998"/>
                  <a:pt x="2297371" y="3667772"/>
                  <a:pt x="2287312" y="3669448"/>
                </a:cubicBezTo>
                <a:lnTo>
                  <a:pt x="2229272" y="3679121"/>
                </a:lnTo>
                <a:cubicBezTo>
                  <a:pt x="2232496" y="3891937"/>
                  <a:pt x="2229700" y="4104927"/>
                  <a:pt x="2238946" y="4317566"/>
                </a:cubicBezTo>
                <a:cubicBezTo>
                  <a:pt x="2239450" y="4329180"/>
                  <a:pt x="2257711" y="4334975"/>
                  <a:pt x="2258292" y="4346586"/>
                </a:cubicBezTo>
                <a:lnTo>
                  <a:pt x="2248618" y="4511034"/>
                </a:lnTo>
                <a:lnTo>
                  <a:pt x="2246389" y="4511788"/>
                </a:lnTo>
                <a:lnTo>
                  <a:pt x="2238946" y="4482014"/>
                </a:lnTo>
                <a:cubicBezTo>
                  <a:pt x="2233086" y="4462480"/>
                  <a:pt x="2219598" y="4423973"/>
                  <a:pt x="2219598" y="4423973"/>
                </a:cubicBezTo>
                <a:cubicBezTo>
                  <a:pt x="2155505" y="4359880"/>
                  <a:pt x="2225831" y="4417709"/>
                  <a:pt x="2074497" y="4385280"/>
                </a:cubicBezTo>
                <a:cubicBezTo>
                  <a:pt x="2065579" y="4383369"/>
                  <a:pt x="2062272" y="4371630"/>
                  <a:pt x="2055150" y="4365933"/>
                </a:cubicBezTo>
                <a:cubicBezTo>
                  <a:pt x="2046073" y="4358670"/>
                  <a:pt x="2035804" y="4353035"/>
                  <a:pt x="2026130" y="4346586"/>
                </a:cubicBezTo>
                <a:cubicBezTo>
                  <a:pt x="2000334" y="4343362"/>
                  <a:pt x="1974162" y="4342360"/>
                  <a:pt x="1948743" y="4336912"/>
                </a:cubicBezTo>
                <a:cubicBezTo>
                  <a:pt x="1928803" y="4332640"/>
                  <a:pt x="1890703" y="4317566"/>
                  <a:pt x="1890703" y="4317566"/>
                </a:cubicBezTo>
                <a:cubicBezTo>
                  <a:pt x="1858459" y="4314342"/>
                  <a:pt x="1815866" y="4331780"/>
                  <a:pt x="1793969" y="4307892"/>
                </a:cubicBezTo>
                <a:cubicBezTo>
                  <a:pt x="1658657" y="4160280"/>
                  <a:pt x="1876531" y="4219934"/>
                  <a:pt x="1735928" y="4191811"/>
                </a:cubicBezTo>
                <a:cubicBezTo>
                  <a:pt x="1572481" y="4196352"/>
                  <a:pt x="1435738" y="4213876"/>
                  <a:pt x="1281277" y="4191811"/>
                </a:cubicBezTo>
                <a:cubicBezTo>
                  <a:pt x="1251975" y="4187625"/>
                  <a:pt x="1251980" y="4181862"/>
                  <a:pt x="1232911" y="4162791"/>
                </a:cubicBezTo>
                <a:lnTo>
                  <a:pt x="1174870" y="4143445"/>
                </a:lnTo>
                <a:lnTo>
                  <a:pt x="1145850" y="4133771"/>
                </a:lnTo>
                <a:cubicBezTo>
                  <a:pt x="1110381" y="4130547"/>
                  <a:pt x="1074147" y="4132107"/>
                  <a:pt x="1039443" y="4124098"/>
                </a:cubicBezTo>
                <a:cubicBezTo>
                  <a:pt x="1030556" y="4122048"/>
                  <a:pt x="1025793" y="4111873"/>
                  <a:pt x="1020095" y="4104751"/>
                </a:cubicBezTo>
                <a:cubicBezTo>
                  <a:pt x="992519" y="4070280"/>
                  <a:pt x="1001770" y="4075492"/>
                  <a:pt x="991075" y="4027364"/>
                </a:cubicBezTo>
                <a:cubicBezTo>
                  <a:pt x="982976" y="3990915"/>
                  <a:pt x="982504" y="3991974"/>
                  <a:pt x="971729" y="3959650"/>
                </a:cubicBezTo>
                <a:cubicBezTo>
                  <a:pt x="958753" y="3951000"/>
                  <a:pt x="882871" y="3905893"/>
                  <a:pt x="874994" y="3882263"/>
                </a:cubicBezTo>
                <a:cubicBezTo>
                  <a:pt x="868546" y="3862916"/>
                  <a:pt x="859648" y="3844219"/>
                  <a:pt x="855648" y="3824222"/>
                </a:cubicBezTo>
                <a:cubicBezTo>
                  <a:pt x="843974" y="3765856"/>
                  <a:pt x="851174" y="3791453"/>
                  <a:pt x="836300" y="3746835"/>
                </a:cubicBezTo>
                <a:cubicBezTo>
                  <a:pt x="826626" y="3737161"/>
                  <a:pt x="820867" y="3719413"/>
                  <a:pt x="807280" y="3717815"/>
                </a:cubicBezTo>
                <a:cubicBezTo>
                  <a:pt x="762333" y="3712527"/>
                  <a:pt x="716800" y="3722200"/>
                  <a:pt x="671853" y="3727488"/>
                </a:cubicBezTo>
                <a:cubicBezTo>
                  <a:pt x="661726" y="3728679"/>
                  <a:pt x="650794" y="3730792"/>
                  <a:pt x="642832" y="3737162"/>
                </a:cubicBezTo>
                <a:cubicBezTo>
                  <a:pt x="614709" y="3759661"/>
                  <a:pt x="622716" y="3796357"/>
                  <a:pt x="604138" y="3824222"/>
                </a:cubicBezTo>
                <a:lnTo>
                  <a:pt x="584792" y="3853243"/>
                </a:lnTo>
                <a:cubicBezTo>
                  <a:pt x="513854" y="3850018"/>
                  <a:pt x="442483" y="3852030"/>
                  <a:pt x="371977" y="3843569"/>
                </a:cubicBezTo>
                <a:cubicBezTo>
                  <a:pt x="360433" y="3842184"/>
                  <a:pt x="351706" y="3831878"/>
                  <a:pt x="342957" y="3824222"/>
                </a:cubicBezTo>
                <a:cubicBezTo>
                  <a:pt x="297688" y="3784612"/>
                  <a:pt x="301465" y="3786169"/>
                  <a:pt x="275243" y="3746835"/>
                </a:cubicBezTo>
                <a:cubicBezTo>
                  <a:pt x="268263" y="3745439"/>
                  <a:pt x="210605" y="3735989"/>
                  <a:pt x="197856" y="3727488"/>
                </a:cubicBezTo>
                <a:cubicBezTo>
                  <a:pt x="186473" y="3719900"/>
                  <a:pt x="176423" y="3709850"/>
                  <a:pt x="168835" y="3698468"/>
                </a:cubicBezTo>
                <a:cubicBezTo>
                  <a:pt x="163179" y="3689984"/>
                  <a:pt x="162387" y="3679121"/>
                  <a:pt x="159163" y="3669448"/>
                </a:cubicBezTo>
                <a:cubicBezTo>
                  <a:pt x="162387" y="3659774"/>
                  <a:pt x="163589" y="3649171"/>
                  <a:pt x="168835" y="3640427"/>
                </a:cubicBezTo>
                <a:cubicBezTo>
                  <a:pt x="173527" y="3632607"/>
                  <a:pt x="187357" y="3630164"/>
                  <a:pt x="188183" y="3621081"/>
                </a:cubicBezTo>
                <a:cubicBezTo>
                  <a:pt x="190826" y="3592002"/>
                  <a:pt x="181733" y="3563041"/>
                  <a:pt x="178509" y="3534021"/>
                </a:cubicBezTo>
                <a:cubicBezTo>
                  <a:pt x="169403" y="3524913"/>
                  <a:pt x="143219" y="3496198"/>
                  <a:pt x="130142" y="3495327"/>
                </a:cubicBezTo>
                <a:cubicBezTo>
                  <a:pt x="91400" y="3492744"/>
                  <a:pt x="52028" y="3496865"/>
                  <a:pt x="14061" y="3505000"/>
                </a:cubicBezTo>
                <a:cubicBezTo>
                  <a:pt x="9603" y="3505955"/>
                  <a:pt x="6190" y="3509012"/>
                  <a:pt x="3180" y="3512719"/>
                </a:cubicBezTo>
                <a:close/>
              </a:path>
            </a:pathLst>
          </a:cu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EBDBC5BD-2E5F-4FD6-9738-0E10DEC03834}"/>
              </a:ext>
            </a:extLst>
          </p:cNvPr>
          <p:cNvSpPr/>
          <p:nvPr userDrawn="1"/>
        </p:nvSpPr>
        <p:spPr>
          <a:xfrm>
            <a:off x="5215630" y="0"/>
            <a:ext cx="3928370" cy="25717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87000">
                <a:schemeClr val="bg1">
                  <a:alpha val="0"/>
                </a:schemeClr>
              </a:gs>
            </a:gsLst>
            <a:lin ang="18900000" scaled="1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8867116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649E9BA4-FC2B-46F9-8905-034D0085FF7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81130" y="1018713"/>
            <a:ext cx="3789628" cy="337707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C3584B99-123A-4D70-9427-DE62E97C16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1" y="1018713"/>
            <a:ext cx="3282807" cy="3383029"/>
          </a:xfrm>
        </p:spPr>
        <p:txBody>
          <a:bodyPr>
            <a:normAutofit/>
          </a:bodyPr>
          <a:lstStyle>
            <a:lvl1pPr marL="0" indent="0">
              <a:buNone/>
              <a:defRPr sz="11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16C3B4EB-CA94-4DB1-A8F1-53C7FE476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4988597"/>
            <a:ext cx="9144000" cy="154976"/>
          </a:xfrm>
          <a:prstGeom prst="rect">
            <a:avLst/>
          </a:prstGeom>
          <a:ln>
            <a:noFill/>
          </a:ln>
        </p:spPr>
      </p:pic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967F22DE-84A2-4CFD-83C8-9D9FA48325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083EE7D7-E78D-4163-BC93-BF12EC8F51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40402"/>
            <a:ext cx="6372546" cy="541856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8D6FCF4-E4DF-415E-BD0B-C77C1F5BC2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24" y="111623"/>
            <a:ext cx="569341" cy="4674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1393120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308445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924CAFEB-FD42-4F45-ABAF-C3F8E2BF3B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3187"/>
          <a:stretch/>
        </p:blipFill>
        <p:spPr>
          <a:xfrm>
            <a:off x="3619123" y="0"/>
            <a:ext cx="5524878" cy="5143499"/>
          </a:xfrm>
          <a:custGeom>
            <a:avLst/>
            <a:gdLst>
              <a:gd name="connsiteX0" fmla="*/ 307402 w 7366504"/>
              <a:gd name="connsiteY0" fmla="*/ 6842737 h 6857999"/>
              <a:gd name="connsiteX1" fmla="*/ 325925 w 7366504"/>
              <a:gd name="connsiteY1" fmla="*/ 6844421 h 6857999"/>
              <a:gd name="connsiteX2" fmla="*/ 380246 w 7366504"/>
              <a:gd name="connsiteY2" fmla="*/ 6853474 h 6857999"/>
              <a:gd name="connsiteX3" fmla="*/ 395826 w 7366504"/>
              <a:gd name="connsiteY3" fmla="*/ 6857999 h 6857999"/>
              <a:gd name="connsiteX4" fmla="*/ 312033 w 7366504"/>
              <a:gd name="connsiteY4" fmla="*/ 6857999 h 6857999"/>
              <a:gd name="connsiteX5" fmla="*/ 308821 w 7366504"/>
              <a:gd name="connsiteY5" fmla="*/ 6848965 h 6857999"/>
              <a:gd name="connsiteX6" fmla="*/ 1718403 w 7366504"/>
              <a:gd name="connsiteY6" fmla="*/ 3103974 h 6857999"/>
              <a:gd name="connsiteX7" fmla="*/ 1726925 w 7366504"/>
              <a:gd name="connsiteY7" fmla="*/ 3112699 h 6857999"/>
              <a:gd name="connsiteX8" fmla="*/ 1753919 w 7366504"/>
              <a:gd name="connsiteY8" fmla="*/ 3130850 h 6857999"/>
              <a:gd name="connsiteX9" fmla="*/ 1747319 w 7366504"/>
              <a:gd name="connsiteY9" fmla="*/ 3132500 h 6857999"/>
              <a:gd name="connsiteX10" fmla="*/ 1720158 w 7366504"/>
              <a:gd name="connsiteY10" fmla="*/ 3150607 h 6857999"/>
              <a:gd name="connsiteX11" fmla="*/ 1713147 w 7366504"/>
              <a:gd name="connsiteY11" fmla="*/ 3154113 h 6857999"/>
              <a:gd name="connsiteX12" fmla="*/ 1705315 w 7366504"/>
              <a:gd name="connsiteY12" fmla="*/ 2773960 h 6857999"/>
              <a:gd name="connsiteX13" fmla="*/ 1706226 w 7366504"/>
              <a:gd name="connsiteY13" fmla="*/ 2774893 h 6857999"/>
              <a:gd name="connsiteX14" fmla="*/ 1707013 w 7366504"/>
              <a:gd name="connsiteY14" fmla="*/ 2775781 h 6857999"/>
              <a:gd name="connsiteX15" fmla="*/ 0 w 7366504"/>
              <a:gd name="connsiteY15" fmla="*/ 0 h 6857999"/>
              <a:gd name="connsiteX16" fmla="*/ 7366504 w 7366504"/>
              <a:gd name="connsiteY16" fmla="*/ 0 h 6857999"/>
              <a:gd name="connsiteX17" fmla="*/ 7366504 w 7366504"/>
              <a:gd name="connsiteY17" fmla="*/ 6857999 h 6857999"/>
              <a:gd name="connsiteX18" fmla="*/ 1511932 w 7366504"/>
              <a:gd name="connsiteY18" fmla="*/ 6857999 h 6857999"/>
              <a:gd name="connsiteX19" fmla="*/ 1520982 w 7366504"/>
              <a:gd name="connsiteY19" fmla="*/ 6853474 h 6857999"/>
              <a:gd name="connsiteX20" fmla="*/ 1575303 w 7366504"/>
              <a:gd name="connsiteY20" fmla="*/ 6844421 h 6857999"/>
              <a:gd name="connsiteX21" fmla="*/ 1638677 w 7366504"/>
              <a:gd name="connsiteY21" fmla="*/ 6817260 h 6857999"/>
              <a:gd name="connsiteX22" fmla="*/ 1692998 w 7366504"/>
              <a:gd name="connsiteY22" fmla="*/ 6799153 h 6857999"/>
              <a:gd name="connsiteX23" fmla="*/ 1729212 w 7366504"/>
              <a:gd name="connsiteY23" fmla="*/ 6781047 h 6857999"/>
              <a:gd name="connsiteX24" fmla="*/ 1756372 w 7366504"/>
              <a:gd name="connsiteY24" fmla="*/ 6771993 h 6857999"/>
              <a:gd name="connsiteX25" fmla="*/ 1783533 w 7366504"/>
              <a:gd name="connsiteY25" fmla="*/ 6753886 h 6857999"/>
              <a:gd name="connsiteX26" fmla="*/ 1855960 w 7366504"/>
              <a:gd name="connsiteY26" fmla="*/ 6717672 h 6857999"/>
              <a:gd name="connsiteX27" fmla="*/ 1919335 w 7366504"/>
              <a:gd name="connsiteY27" fmla="*/ 6699565 h 6857999"/>
              <a:gd name="connsiteX28" fmla="*/ 1946495 w 7366504"/>
              <a:gd name="connsiteY28" fmla="*/ 6690512 h 6857999"/>
              <a:gd name="connsiteX29" fmla="*/ 1973655 w 7366504"/>
              <a:gd name="connsiteY29" fmla="*/ 6672405 h 6857999"/>
              <a:gd name="connsiteX30" fmla="*/ 2009869 w 7366504"/>
              <a:gd name="connsiteY30" fmla="*/ 6663351 h 6857999"/>
              <a:gd name="connsiteX31" fmla="*/ 2055137 w 7366504"/>
              <a:gd name="connsiteY31" fmla="*/ 6627138 h 6857999"/>
              <a:gd name="connsiteX32" fmla="*/ 2073244 w 7366504"/>
              <a:gd name="connsiteY32" fmla="*/ 6599977 h 6857999"/>
              <a:gd name="connsiteX33" fmla="*/ 2100404 w 7366504"/>
              <a:gd name="connsiteY33" fmla="*/ 6563763 h 6857999"/>
              <a:gd name="connsiteX34" fmla="*/ 2163778 w 7366504"/>
              <a:gd name="connsiteY34" fmla="*/ 6482282 h 6857999"/>
              <a:gd name="connsiteX35" fmla="*/ 2199992 w 7366504"/>
              <a:gd name="connsiteY35" fmla="*/ 6455122 h 6857999"/>
              <a:gd name="connsiteX36" fmla="*/ 2209046 w 7366504"/>
              <a:gd name="connsiteY36" fmla="*/ 6427961 h 6857999"/>
              <a:gd name="connsiteX37" fmla="*/ 2227153 w 7366504"/>
              <a:gd name="connsiteY37" fmla="*/ 6400801 h 6857999"/>
              <a:gd name="connsiteX38" fmla="*/ 2245259 w 7366504"/>
              <a:gd name="connsiteY38" fmla="*/ 6328373 h 6857999"/>
              <a:gd name="connsiteX39" fmla="*/ 2281473 w 7366504"/>
              <a:gd name="connsiteY39" fmla="*/ 6228785 h 6857999"/>
              <a:gd name="connsiteX40" fmla="*/ 2299580 w 7366504"/>
              <a:gd name="connsiteY40" fmla="*/ 6138251 h 6857999"/>
              <a:gd name="connsiteX41" fmla="*/ 2309870 w 7366504"/>
              <a:gd name="connsiteY41" fmla="*/ 6098974 h 6857999"/>
              <a:gd name="connsiteX42" fmla="*/ 2372008 w 7366504"/>
              <a:gd name="connsiteY42" fmla="*/ 6147304 h 6857999"/>
              <a:gd name="connsiteX43" fmla="*/ 2426329 w 7366504"/>
              <a:gd name="connsiteY43" fmla="*/ 6156357 h 6857999"/>
              <a:gd name="connsiteX44" fmla="*/ 2553077 w 7366504"/>
              <a:gd name="connsiteY44" fmla="*/ 6210678 h 6857999"/>
              <a:gd name="connsiteX45" fmla="*/ 2670772 w 7366504"/>
              <a:gd name="connsiteY45" fmla="*/ 6219732 h 6857999"/>
              <a:gd name="connsiteX46" fmla="*/ 2743200 w 7366504"/>
              <a:gd name="connsiteY46" fmla="*/ 6219732 h 6857999"/>
              <a:gd name="connsiteX47" fmla="*/ 2879002 w 7366504"/>
              <a:gd name="connsiteY47" fmla="*/ 6228785 h 6857999"/>
              <a:gd name="connsiteX48" fmla="*/ 2924269 w 7366504"/>
              <a:gd name="connsiteY48" fmla="*/ 6237839 h 6857999"/>
              <a:gd name="connsiteX49" fmla="*/ 2960483 w 7366504"/>
              <a:gd name="connsiteY49" fmla="*/ 6246892 h 6857999"/>
              <a:gd name="connsiteX50" fmla="*/ 3105339 w 7366504"/>
              <a:gd name="connsiteY50" fmla="*/ 6255946 h 6857999"/>
              <a:gd name="connsiteX51" fmla="*/ 3132499 w 7366504"/>
              <a:gd name="connsiteY51" fmla="*/ 6246892 h 6857999"/>
              <a:gd name="connsiteX52" fmla="*/ 3195873 w 7366504"/>
              <a:gd name="connsiteY52" fmla="*/ 6237839 h 6857999"/>
              <a:gd name="connsiteX53" fmla="*/ 3213980 w 7366504"/>
              <a:gd name="connsiteY53" fmla="*/ 6192571 h 6857999"/>
              <a:gd name="connsiteX54" fmla="*/ 3186820 w 7366504"/>
              <a:gd name="connsiteY54" fmla="*/ 6138251 h 6857999"/>
              <a:gd name="connsiteX55" fmla="*/ 3159659 w 7366504"/>
              <a:gd name="connsiteY55" fmla="*/ 6120144 h 6857999"/>
              <a:gd name="connsiteX56" fmla="*/ 3079746 w 7366504"/>
              <a:gd name="connsiteY56" fmla="*/ 6104230 h 6857999"/>
              <a:gd name="connsiteX57" fmla="*/ 3056815 w 7366504"/>
              <a:gd name="connsiteY57" fmla="*/ 6095253 h 6857999"/>
              <a:gd name="connsiteX58" fmla="*/ 3223034 w 7366504"/>
              <a:gd name="connsiteY58" fmla="*/ 6102037 h 6857999"/>
              <a:gd name="connsiteX59" fmla="*/ 3295461 w 7366504"/>
              <a:gd name="connsiteY59" fmla="*/ 6083930 h 6857999"/>
              <a:gd name="connsiteX60" fmla="*/ 3322622 w 7366504"/>
              <a:gd name="connsiteY60" fmla="*/ 6065823 h 6857999"/>
              <a:gd name="connsiteX61" fmla="*/ 3349782 w 7366504"/>
              <a:gd name="connsiteY61" fmla="*/ 6056769 h 6857999"/>
              <a:gd name="connsiteX62" fmla="*/ 3395050 w 7366504"/>
              <a:gd name="connsiteY62" fmla="*/ 6029609 h 6857999"/>
              <a:gd name="connsiteX63" fmla="*/ 3494638 w 7366504"/>
              <a:gd name="connsiteY63" fmla="*/ 6011502 h 6857999"/>
              <a:gd name="connsiteX64" fmla="*/ 3521798 w 7366504"/>
              <a:gd name="connsiteY64" fmla="*/ 6002449 h 6857999"/>
              <a:gd name="connsiteX65" fmla="*/ 3585172 w 7366504"/>
              <a:gd name="connsiteY65" fmla="*/ 5984342 h 6857999"/>
              <a:gd name="connsiteX66" fmla="*/ 3539905 w 7366504"/>
              <a:gd name="connsiteY66" fmla="*/ 5902860 h 6857999"/>
              <a:gd name="connsiteX67" fmla="*/ 3512745 w 7366504"/>
              <a:gd name="connsiteY67" fmla="*/ 5884753 h 6857999"/>
              <a:gd name="connsiteX68" fmla="*/ 3476531 w 7366504"/>
              <a:gd name="connsiteY68" fmla="*/ 5821379 h 6857999"/>
              <a:gd name="connsiteX69" fmla="*/ 3458424 w 7366504"/>
              <a:gd name="connsiteY69" fmla="*/ 5794219 h 6857999"/>
              <a:gd name="connsiteX70" fmla="*/ 3422210 w 7366504"/>
              <a:gd name="connsiteY70" fmla="*/ 5739898 h 6857999"/>
              <a:gd name="connsiteX71" fmla="*/ 3376943 w 7366504"/>
              <a:gd name="connsiteY71" fmla="*/ 5685577 h 6857999"/>
              <a:gd name="connsiteX72" fmla="*/ 3349782 w 7366504"/>
              <a:gd name="connsiteY72" fmla="*/ 5658417 h 6857999"/>
              <a:gd name="connsiteX73" fmla="*/ 3340729 w 7366504"/>
              <a:gd name="connsiteY73" fmla="*/ 5631256 h 6857999"/>
              <a:gd name="connsiteX74" fmla="*/ 3313568 w 7366504"/>
              <a:gd name="connsiteY74" fmla="*/ 5613150 h 6857999"/>
              <a:gd name="connsiteX75" fmla="*/ 3295461 w 7366504"/>
              <a:gd name="connsiteY75" fmla="*/ 5585989 h 6857999"/>
              <a:gd name="connsiteX76" fmla="*/ 3241141 w 7366504"/>
              <a:gd name="connsiteY76" fmla="*/ 5549775 h 6857999"/>
              <a:gd name="connsiteX77" fmla="*/ 3213980 w 7366504"/>
              <a:gd name="connsiteY77" fmla="*/ 5540722 h 6857999"/>
              <a:gd name="connsiteX78" fmla="*/ 3186820 w 7366504"/>
              <a:gd name="connsiteY78" fmla="*/ 5549775 h 6857999"/>
              <a:gd name="connsiteX79" fmla="*/ 3123446 w 7366504"/>
              <a:gd name="connsiteY79" fmla="*/ 5595043 h 6857999"/>
              <a:gd name="connsiteX80" fmla="*/ 3087232 w 7366504"/>
              <a:gd name="connsiteY80" fmla="*/ 5649363 h 6857999"/>
              <a:gd name="connsiteX81" fmla="*/ 3069125 w 7366504"/>
              <a:gd name="connsiteY81" fmla="*/ 5739898 h 6857999"/>
              <a:gd name="connsiteX82" fmla="*/ 3060071 w 7366504"/>
              <a:gd name="connsiteY82" fmla="*/ 5767058 h 6857999"/>
              <a:gd name="connsiteX83" fmla="*/ 3032911 w 7366504"/>
              <a:gd name="connsiteY83" fmla="*/ 5794219 h 6857999"/>
              <a:gd name="connsiteX84" fmla="*/ 3014804 w 7366504"/>
              <a:gd name="connsiteY84" fmla="*/ 5821379 h 6857999"/>
              <a:gd name="connsiteX85" fmla="*/ 2987644 w 7366504"/>
              <a:gd name="connsiteY85" fmla="*/ 5839486 h 6857999"/>
              <a:gd name="connsiteX86" fmla="*/ 2969537 w 7366504"/>
              <a:gd name="connsiteY86" fmla="*/ 5875700 h 6857999"/>
              <a:gd name="connsiteX87" fmla="*/ 2951430 w 7366504"/>
              <a:gd name="connsiteY87" fmla="*/ 5902860 h 6857999"/>
              <a:gd name="connsiteX88" fmla="*/ 2915216 w 7366504"/>
              <a:gd name="connsiteY88" fmla="*/ 5920967 h 6857999"/>
              <a:gd name="connsiteX89" fmla="*/ 2860895 w 7366504"/>
              <a:gd name="connsiteY89" fmla="*/ 5966235 h 6857999"/>
              <a:gd name="connsiteX90" fmla="*/ 2701527 w 7366504"/>
              <a:gd name="connsiteY90" fmla="*/ 6033660 h 6857999"/>
              <a:gd name="connsiteX91" fmla="*/ 2616452 w 7366504"/>
              <a:gd name="connsiteY91" fmla="*/ 6029609 h 6857999"/>
              <a:gd name="connsiteX92" fmla="*/ 2562131 w 7366504"/>
              <a:gd name="connsiteY92" fmla="*/ 5993395 h 6857999"/>
              <a:gd name="connsiteX93" fmla="*/ 2489703 w 7366504"/>
              <a:gd name="connsiteY93" fmla="*/ 5948128 h 6857999"/>
              <a:gd name="connsiteX94" fmla="*/ 2419390 w 7366504"/>
              <a:gd name="connsiteY94" fmla="*/ 5904182 h 6857999"/>
              <a:gd name="connsiteX95" fmla="*/ 2426329 w 7366504"/>
              <a:gd name="connsiteY95" fmla="*/ 5893807 h 6857999"/>
              <a:gd name="connsiteX96" fmla="*/ 2444436 w 7366504"/>
              <a:gd name="connsiteY96" fmla="*/ 5821379 h 6857999"/>
              <a:gd name="connsiteX97" fmla="*/ 2453489 w 7366504"/>
              <a:gd name="connsiteY97" fmla="*/ 5794219 h 6857999"/>
              <a:gd name="connsiteX98" fmla="*/ 2462543 w 7366504"/>
              <a:gd name="connsiteY98" fmla="*/ 5622203 h 6857999"/>
              <a:gd name="connsiteX99" fmla="*/ 2444436 w 7366504"/>
              <a:gd name="connsiteY99" fmla="*/ 5504508 h 6857999"/>
              <a:gd name="connsiteX100" fmla="*/ 2426329 w 7366504"/>
              <a:gd name="connsiteY100" fmla="*/ 5441134 h 6857999"/>
              <a:gd name="connsiteX101" fmla="*/ 2417275 w 7366504"/>
              <a:gd name="connsiteY101" fmla="*/ 5260064 h 6857999"/>
              <a:gd name="connsiteX102" fmla="*/ 2399168 w 7366504"/>
              <a:gd name="connsiteY102" fmla="*/ 5205744 h 6857999"/>
              <a:gd name="connsiteX103" fmla="*/ 2381061 w 7366504"/>
              <a:gd name="connsiteY103" fmla="*/ 5178583 h 6857999"/>
              <a:gd name="connsiteX104" fmla="*/ 2353901 w 7366504"/>
              <a:gd name="connsiteY104" fmla="*/ 5160476 h 6857999"/>
              <a:gd name="connsiteX105" fmla="*/ 2308634 w 7366504"/>
              <a:gd name="connsiteY105" fmla="*/ 5106155 h 6857999"/>
              <a:gd name="connsiteX106" fmla="*/ 2263366 w 7366504"/>
              <a:gd name="connsiteY106" fmla="*/ 5060888 h 6857999"/>
              <a:gd name="connsiteX107" fmla="*/ 2242747 w 7366504"/>
              <a:gd name="connsiteY107" fmla="*/ 5054742 h 6857999"/>
              <a:gd name="connsiteX108" fmla="*/ 2213170 w 7366504"/>
              <a:gd name="connsiteY108" fmla="*/ 5044245 h 6857999"/>
              <a:gd name="connsiteX109" fmla="*/ 2218099 w 7366504"/>
              <a:gd name="connsiteY109" fmla="*/ 5024674 h 6857999"/>
              <a:gd name="connsiteX110" fmla="*/ 2245259 w 7366504"/>
              <a:gd name="connsiteY110" fmla="*/ 5015621 h 6857999"/>
              <a:gd name="connsiteX111" fmla="*/ 2272420 w 7366504"/>
              <a:gd name="connsiteY111" fmla="*/ 4997514 h 6857999"/>
              <a:gd name="connsiteX112" fmla="*/ 2462543 w 7366504"/>
              <a:gd name="connsiteY112" fmla="*/ 4988460 h 6857999"/>
              <a:gd name="connsiteX113" fmla="*/ 2562131 w 7366504"/>
              <a:gd name="connsiteY113" fmla="*/ 5006567 h 6857999"/>
              <a:gd name="connsiteX114" fmla="*/ 2634558 w 7366504"/>
              <a:gd name="connsiteY114" fmla="*/ 5015621 h 6857999"/>
              <a:gd name="connsiteX115" fmla="*/ 2661719 w 7366504"/>
              <a:gd name="connsiteY115" fmla="*/ 4997514 h 6857999"/>
              <a:gd name="connsiteX116" fmla="*/ 2670772 w 7366504"/>
              <a:gd name="connsiteY116" fmla="*/ 4943193 h 6857999"/>
              <a:gd name="connsiteX117" fmla="*/ 2625505 w 7366504"/>
              <a:gd name="connsiteY117" fmla="*/ 4897926 h 6857999"/>
              <a:gd name="connsiteX118" fmla="*/ 2607398 w 7366504"/>
              <a:gd name="connsiteY118" fmla="*/ 4870765 h 6857999"/>
              <a:gd name="connsiteX119" fmla="*/ 2525917 w 7366504"/>
              <a:gd name="connsiteY119" fmla="*/ 4843605 h 6857999"/>
              <a:gd name="connsiteX120" fmla="*/ 2498756 w 7366504"/>
              <a:gd name="connsiteY120" fmla="*/ 4825498 h 6857999"/>
              <a:gd name="connsiteX121" fmla="*/ 2453489 w 7366504"/>
              <a:gd name="connsiteY121" fmla="*/ 4816445 h 6857999"/>
              <a:gd name="connsiteX122" fmla="*/ 2426329 w 7366504"/>
              <a:gd name="connsiteY122" fmla="*/ 4807391 h 6857999"/>
              <a:gd name="connsiteX123" fmla="*/ 2390115 w 7366504"/>
              <a:gd name="connsiteY123" fmla="*/ 4798338 h 6857999"/>
              <a:gd name="connsiteX124" fmla="*/ 2380323 w 7366504"/>
              <a:gd name="connsiteY124" fmla="*/ 4790444 h 6857999"/>
              <a:gd name="connsiteX125" fmla="*/ 2379582 w 7366504"/>
              <a:gd name="connsiteY125" fmla="*/ 4787773 h 6857999"/>
              <a:gd name="connsiteX126" fmla="*/ 2379586 w 7366504"/>
              <a:gd name="connsiteY126" fmla="*/ 4787771 h 6857999"/>
              <a:gd name="connsiteX127" fmla="*/ 2399168 w 7366504"/>
              <a:gd name="connsiteY127" fmla="*/ 4771177 h 6857999"/>
              <a:gd name="connsiteX128" fmla="*/ 2426329 w 7366504"/>
              <a:gd name="connsiteY128" fmla="*/ 4744017 h 6857999"/>
              <a:gd name="connsiteX129" fmla="*/ 2471596 w 7366504"/>
              <a:gd name="connsiteY129" fmla="*/ 4716856 h 6857999"/>
              <a:gd name="connsiteX130" fmla="*/ 2498756 w 7366504"/>
              <a:gd name="connsiteY130" fmla="*/ 4689696 h 6857999"/>
              <a:gd name="connsiteX131" fmla="*/ 2589291 w 7366504"/>
              <a:gd name="connsiteY131" fmla="*/ 4617268 h 6857999"/>
              <a:gd name="connsiteX132" fmla="*/ 2598345 w 7366504"/>
              <a:gd name="connsiteY132" fmla="*/ 4590108 h 6857999"/>
              <a:gd name="connsiteX133" fmla="*/ 2634558 w 7366504"/>
              <a:gd name="connsiteY133" fmla="*/ 4535787 h 6857999"/>
              <a:gd name="connsiteX134" fmla="*/ 2688879 w 7366504"/>
              <a:gd name="connsiteY134" fmla="*/ 4499573 h 6857999"/>
              <a:gd name="connsiteX135" fmla="*/ 2706986 w 7366504"/>
              <a:gd name="connsiteY135" fmla="*/ 4472413 h 6857999"/>
              <a:gd name="connsiteX136" fmla="*/ 2734147 w 7366504"/>
              <a:gd name="connsiteY136" fmla="*/ 4454306 h 6857999"/>
              <a:gd name="connsiteX137" fmla="*/ 2761307 w 7366504"/>
              <a:gd name="connsiteY137" fmla="*/ 4390932 h 6857999"/>
              <a:gd name="connsiteX138" fmla="*/ 2824681 w 7366504"/>
              <a:gd name="connsiteY138" fmla="*/ 4372825 h 6857999"/>
              <a:gd name="connsiteX139" fmla="*/ 2879002 w 7366504"/>
              <a:gd name="connsiteY139" fmla="*/ 4354718 h 6857999"/>
              <a:gd name="connsiteX140" fmla="*/ 2897109 w 7366504"/>
              <a:gd name="connsiteY140" fmla="*/ 4327557 h 6857999"/>
              <a:gd name="connsiteX141" fmla="*/ 2951430 w 7366504"/>
              <a:gd name="connsiteY141" fmla="*/ 4291344 h 6857999"/>
              <a:gd name="connsiteX142" fmla="*/ 2969537 w 7366504"/>
              <a:gd name="connsiteY142" fmla="*/ 4264183 h 6857999"/>
              <a:gd name="connsiteX143" fmla="*/ 2978590 w 7366504"/>
              <a:gd name="connsiteY143" fmla="*/ 4237023 h 6857999"/>
              <a:gd name="connsiteX144" fmla="*/ 3005751 w 7366504"/>
              <a:gd name="connsiteY144" fmla="*/ 4173649 h 6857999"/>
              <a:gd name="connsiteX145" fmla="*/ 3014804 w 7366504"/>
              <a:gd name="connsiteY145" fmla="*/ 4028793 h 6857999"/>
              <a:gd name="connsiteX146" fmla="*/ 3007830 w 7366504"/>
              <a:gd name="connsiteY146" fmla="*/ 4007826 h 6857999"/>
              <a:gd name="connsiteX147" fmla="*/ 3004501 w 7366504"/>
              <a:gd name="connsiteY147" fmla="*/ 3997766 h 6857999"/>
              <a:gd name="connsiteX148" fmla="*/ 3004152 w 7366504"/>
              <a:gd name="connsiteY148" fmla="*/ 3996663 h 6857999"/>
              <a:gd name="connsiteX149" fmla="*/ 3003485 w 7366504"/>
              <a:gd name="connsiteY149" fmla="*/ 3994695 h 6857999"/>
              <a:gd name="connsiteX150" fmla="*/ 3004501 w 7366504"/>
              <a:gd name="connsiteY150" fmla="*/ 3997766 h 6857999"/>
              <a:gd name="connsiteX151" fmla="*/ 3009533 w 7366504"/>
              <a:gd name="connsiteY151" fmla="*/ 4013639 h 6857999"/>
              <a:gd name="connsiteX152" fmla="*/ 2987644 w 7366504"/>
              <a:gd name="connsiteY152" fmla="*/ 3965419 h 6857999"/>
              <a:gd name="connsiteX153" fmla="*/ 2978590 w 7366504"/>
              <a:gd name="connsiteY153" fmla="*/ 3929205 h 6857999"/>
              <a:gd name="connsiteX154" fmla="*/ 2951430 w 7366504"/>
              <a:gd name="connsiteY154" fmla="*/ 3865831 h 6857999"/>
              <a:gd name="connsiteX155" fmla="*/ 2933323 w 7366504"/>
              <a:gd name="connsiteY155" fmla="*/ 3838670 h 6857999"/>
              <a:gd name="connsiteX156" fmla="*/ 2919094 w 7366504"/>
              <a:gd name="connsiteY156" fmla="*/ 3823798 h 6857999"/>
              <a:gd name="connsiteX157" fmla="*/ 2924269 w 7366504"/>
              <a:gd name="connsiteY157" fmla="*/ 3820563 h 6857999"/>
              <a:gd name="connsiteX158" fmla="*/ 2969537 w 7366504"/>
              <a:gd name="connsiteY158" fmla="*/ 3793403 h 6857999"/>
              <a:gd name="connsiteX159" fmla="*/ 2996697 w 7366504"/>
              <a:gd name="connsiteY159" fmla="*/ 3775296 h 6857999"/>
              <a:gd name="connsiteX160" fmla="*/ 3014804 w 7366504"/>
              <a:gd name="connsiteY160" fmla="*/ 3739082 h 6857999"/>
              <a:gd name="connsiteX161" fmla="*/ 3014804 w 7366504"/>
              <a:gd name="connsiteY161" fmla="*/ 3476532 h 6857999"/>
              <a:gd name="connsiteX162" fmla="*/ 2969537 w 7366504"/>
              <a:gd name="connsiteY162" fmla="*/ 3404104 h 6857999"/>
              <a:gd name="connsiteX163" fmla="*/ 2942376 w 7366504"/>
              <a:gd name="connsiteY163" fmla="*/ 3395051 h 6857999"/>
              <a:gd name="connsiteX164" fmla="*/ 2915216 w 7366504"/>
              <a:gd name="connsiteY164" fmla="*/ 3367890 h 6857999"/>
              <a:gd name="connsiteX165" fmla="*/ 2888055 w 7366504"/>
              <a:gd name="connsiteY165" fmla="*/ 3358837 h 6857999"/>
              <a:gd name="connsiteX166" fmla="*/ 2842788 w 7366504"/>
              <a:gd name="connsiteY166" fmla="*/ 3331676 h 6857999"/>
              <a:gd name="connsiteX167" fmla="*/ 2571184 w 7366504"/>
              <a:gd name="connsiteY167" fmla="*/ 3331676 h 6857999"/>
              <a:gd name="connsiteX168" fmla="*/ 2480650 w 7366504"/>
              <a:gd name="connsiteY168" fmla="*/ 3304516 h 6857999"/>
              <a:gd name="connsiteX169" fmla="*/ 2362954 w 7366504"/>
              <a:gd name="connsiteY169" fmla="*/ 3295462 h 6857999"/>
              <a:gd name="connsiteX170" fmla="*/ 2335794 w 7366504"/>
              <a:gd name="connsiteY170" fmla="*/ 3286409 h 6857999"/>
              <a:gd name="connsiteX171" fmla="*/ 2254313 w 7366504"/>
              <a:gd name="connsiteY171" fmla="*/ 3213981 h 6857999"/>
              <a:gd name="connsiteX172" fmla="*/ 2241772 w 7366504"/>
              <a:gd name="connsiteY172" fmla="*/ 3195170 h 6857999"/>
              <a:gd name="connsiteX173" fmla="*/ 2245259 w 7366504"/>
              <a:gd name="connsiteY173" fmla="*/ 3195874 h 6857999"/>
              <a:gd name="connsiteX174" fmla="*/ 2525917 w 7366504"/>
              <a:gd name="connsiteY174" fmla="*/ 3195874 h 6857999"/>
              <a:gd name="connsiteX175" fmla="*/ 2507810 w 7366504"/>
              <a:gd name="connsiteY175" fmla="*/ 3168714 h 6857999"/>
              <a:gd name="connsiteX176" fmla="*/ 2489703 w 7366504"/>
              <a:gd name="connsiteY176" fmla="*/ 3141553 h 6857999"/>
              <a:gd name="connsiteX177" fmla="*/ 2435382 w 7366504"/>
              <a:gd name="connsiteY177" fmla="*/ 3060072 h 6857999"/>
              <a:gd name="connsiteX178" fmla="*/ 2417275 w 7366504"/>
              <a:gd name="connsiteY178" fmla="*/ 2987645 h 6857999"/>
              <a:gd name="connsiteX179" fmla="*/ 2408222 w 7366504"/>
              <a:gd name="connsiteY179" fmla="*/ 2960484 h 6857999"/>
              <a:gd name="connsiteX180" fmla="*/ 2390115 w 7366504"/>
              <a:gd name="connsiteY180" fmla="*/ 2906163 h 6857999"/>
              <a:gd name="connsiteX181" fmla="*/ 2399168 w 7366504"/>
              <a:gd name="connsiteY181" fmla="*/ 2879003 h 6857999"/>
              <a:gd name="connsiteX182" fmla="*/ 2408222 w 7366504"/>
              <a:gd name="connsiteY182" fmla="*/ 2815629 h 6857999"/>
              <a:gd name="connsiteX183" fmla="*/ 2399168 w 7366504"/>
              <a:gd name="connsiteY183" fmla="*/ 2779415 h 6857999"/>
              <a:gd name="connsiteX184" fmla="*/ 2037030 w 7366504"/>
              <a:gd name="connsiteY184" fmla="*/ 2734148 h 6857999"/>
              <a:gd name="connsiteX185" fmla="*/ 1964602 w 7366504"/>
              <a:gd name="connsiteY185" fmla="*/ 2752254 h 6857999"/>
              <a:gd name="connsiteX186" fmla="*/ 1846907 w 7366504"/>
              <a:gd name="connsiteY186" fmla="*/ 2761308 h 6857999"/>
              <a:gd name="connsiteX187" fmla="*/ 1740269 w 7366504"/>
              <a:gd name="connsiteY187" fmla="*/ 2799525 h 6857999"/>
              <a:gd name="connsiteX188" fmla="*/ 1729212 w 7366504"/>
              <a:gd name="connsiteY188" fmla="*/ 2788468 h 6857999"/>
              <a:gd name="connsiteX189" fmla="*/ 1703450 w 7366504"/>
              <a:gd name="connsiteY189" fmla="*/ 2771958 h 6857999"/>
              <a:gd name="connsiteX190" fmla="*/ 1705315 w 7366504"/>
              <a:gd name="connsiteY190" fmla="*/ 2773960 h 6857999"/>
              <a:gd name="connsiteX191" fmla="*/ 1696911 w 7366504"/>
              <a:gd name="connsiteY191" fmla="*/ 2765348 h 6857999"/>
              <a:gd name="connsiteX192" fmla="*/ 1674891 w 7366504"/>
              <a:gd name="connsiteY192" fmla="*/ 2743202 h 6857999"/>
              <a:gd name="connsiteX193" fmla="*/ 1647731 w 7366504"/>
              <a:gd name="connsiteY193" fmla="*/ 2734148 h 6857999"/>
              <a:gd name="connsiteX194" fmla="*/ 1539089 w 7366504"/>
              <a:gd name="connsiteY194" fmla="*/ 2716041 h 6857999"/>
              <a:gd name="connsiteX195" fmla="*/ 1511929 w 7366504"/>
              <a:gd name="connsiteY195" fmla="*/ 2706987 h 6857999"/>
              <a:gd name="connsiteX196" fmla="*/ 1430448 w 7366504"/>
              <a:gd name="connsiteY196" fmla="*/ 2679828 h 6857999"/>
              <a:gd name="connsiteX197" fmla="*/ 1321806 w 7366504"/>
              <a:gd name="connsiteY197" fmla="*/ 2670774 h 6857999"/>
              <a:gd name="connsiteX198" fmla="*/ 1247070 w 7366504"/>
              <a:gd name="connsiteY198" fmla="*/ 2666378 h 6857999"/>
              <a:gd name="connsiteX199" fmla="*/ 1234456 w 7366504"/>
              <a:gd name="connsiteY199" fmla="*/ 2642353 h 6857999"/>
              <a:gd name="connsiteX200" fmla="*/ 1213164 w 7366504"/>
              <a:gd name="connsiteY200" fmla="*/ 2616452 h 6857999"/>
              <a:gd name="connsiteX201" fmla="*/ 1167897 w 7366504"/>
              <a:gd name="connsiteY201" fmla="*/ 2571186 h 6857999"/>
              <a:gd name="connsiteX202" fmla="*/ 1131683 w 7366504"/>
              <a:gd name="connsiteY202" fmla="*/ 2516865 h 6857999"/>
              <a:gd name="connsiteX203" fmla="*/ 1122630 w 7366504"/>
              <a:gd name="connsiteY203" fmla="*/ 2462544 h 6857999"/>
              <a:gd name="connsiteX204" fmla="*/ 1086416 w 7366504"/>
              <a:gd name="connsiteY204" fmla="*/ 2408224 h 6857999"/>
              <a:gd name="connsiteX205" fmla="*/ 1077362 w 7366504"/>
              <a:gd name="connsiteY205" fmla="*/ 2381062 h 6857999"/>
              <a:gd name="connsiteX206" fmla="*/ 1059255 w 7366504"/>
              <a:gd name="connsiteY206" fmla="*/ 2353902 h 6857999"/>
              <a:gd name="connsiteX207" fmla="*/ 1004935 w 7366504"/>
              <a:gd name="connsiteY207" fmla="*/ 2299582 h 6857999"/>
              <a:gd name="connsiteX208" fmla="*/ 968721 w 7366504"/>
              <a:gd name="connsiteY208" fmla="*/ 2218100 h 6857999"/>
              <a:gd name="connsiteX209" fmla="*/ 950614 w 7366504"/>
              <a:gd name="connsiteY209" fmla="*/ 2190941 h 6857999"/>
              <a:gd name="connsiteX210" fmla="*/ 923453 w 7366504"/>
              <a:gd name="connsiteY210" fmla="*/ 2181887 h 6857999"/>
              <a:gd name="connsiteX211" fmla="*/ 878186 w 7366504"/>
              <a:gd name="connsiteY211" fmla="*/ 2127565 h 6857999"/>
              <a:gd name="connsiteX212" fmla="*/ 832919 w 7366504"/>
              <a:gd name="connsiteY212" fmla="*/ 2073245 h 6857999"/>
              <a:gd name="connsiteX213" fmla="*/ 805758 w 7366504"/>
              <a:gd name="connsiteY213" fmla="*/ 2055139 h 6857999"/>
              <a:gd name="connsiteX214" fmla="*/ 769545 w 7366504"/>
              <a:gd name="connsiteY214" fmla="*/ 2027977 h 6857999"/>
              <a:gd name="connsiteX215" fmla="*/ 742384 w 7366504"/>
              <a:gd name="connsiteY215" fmla="*/ 2018924 h 6857999"/>
              <a:gd name="connsiteX216" fmla="*/ 733331 w 7366504"/>
              <a:gd name="connsiteY216" fmla="*/ 1991764 h 6857999"/>
              <a:gd name="connsiteX217" fmla="*/ 706170 w 7366504"/>
              <a:gd name="connsiteY217" fmla="*/ 1964603 h 6857999"/>
              <a:gd name="connsiteX218" fmla="*/ 679010 w 7366504"/>
              <a:gd name="connsiteY218" fmla="*/ 1955550 h 6857999"/>
              <a:gd name="connsiteX219" fmla="*/ 660903 w 7366504"/>
              <a:gd name="connsiteY219" fmla="*/ 1928390 h 6857999"/>
              <a:gd name="connsiteX220" fmla="*/ 606582 w 7366504"/>
              <a:gd name="connsiteY220" fmla="*/ 1910282 h 6857999"/>
              <a:gd name="connsiteX221" fmla="*/ 579422 w 7366504"/>
              <a:gd name="connsiteY221" fmla="*/ 1883123 h 6857999"/>
              <a:gd name="connsiteX222" fmla="*/ 552261 w 7366504"/>
              <a:gd name="connsiteY222" fmla="*/ 1865016 h 6857999"/>
              <a:gd name="connsiteX223" fmla="*/ 516048 w 7366504"/>
              <a:gd name="connsiteY223" fmla="*/ 1783534 h 6857999"/>
              <a:gd name="connsiteX224" fmla="*/ 495029 w 7366504"/>
              <a:gd name="connsiteY224" fmla="*/ 1770801 h 6857999"/>
              <a:gd name="connsiteX225" fmla="*/ 493665 w 7366504"/>
              <a:gd name="connsiteY225" fmla="*/ 1769904 h 6857999"/>
              <a:gd name="connsiteX226" fmla="*/ 516048 w 7366504"/>
              <a:gd name="connsiteY226" fmla="*/ 1765427 h 6857999"/>
              <a:gd name="connsiteX227" fmla="*/ 697117 w 7366504"/>
              <a:gd name="connsiteY227" fmla="*/ 1738266 h 6857999"/>
              <a:gd name="connsiteX228" fmla="*/ 742384 w 7366504"/>
              <a:gd name="connsiteY228" fmla="*/ 1692999 h 6857999"/>
              <a:gd name="connsiteX229" fmla="*/ 751438 w 7366504"/>
              <a:gd name="connsiteY229" fmla="*/ 1665839 h 6857999"/>
              <a:gd name="connsiteX230" fmla="*/ 787652 w 7366504"/>
              <a:gd name="connsiteY230" fmla="*/ 1611518 h 6857999"/>
              <a:gd name="connsiteX231" fmla="*/ 823865 w 7366504"/>
              <a:gd name="connsiteY231" fmla="*/ 1539090 h 6857999"/>
              <a:gd name="connsiteX232" fmla="*/ 841972 w 7366504"/>
              <a:gd name="connsiteY232" fmla="*/ 1511930 h 6857999"/>
              <a:gd name="connsiteX233" fmla="*/ 860079 w 7366504"/>
              <a:gd name="connsiteY233" fmla="*/ 1457609 h 6857999"/>
              <a:gd name="connsiteX234" fmla="*/ 887240 w 7366504"/>
              <a:gd name="connsiteY234" fmla="*/ 1376128 h 6857999"/>
              <a:gd name="connsiteX235" fmla="*/ 896293 w 7366504"/>
              <a:gd name="connsiteY235" fmla="*/ 1186005 h 6857999"/>
              <a:gd name="connsiteX236" fmla="*/ 869133 w 7366504"/>
              <a:gd name="connsiteY236" fmla="*/ 1122631 h 6857999"/>
              <a:gd name="connsiteX237" fmla="*/ 841972 w 7366504"/>
              <a:gd name="connsiteY237" fmla="*/ 1095470 h 6857999"/>
              <a:gd name="connsiteX238" fmla="*/ 787652 w 7366504"/>
              <a:gd name="connsiteY238" fmla="*/ 1041150 h 6857999"/>
              <a:gd name="connsiteX239" fmla="*/ 733331 w 7366504"/>
              <a:gd name="connsiteY239" fmla="*/ 986829 h 6857999"/>
              <a:gd name="connsiteX240" fmla="*/ 595676 w 7366504"/>
              <a:gd name="connsiteY240" fmla="*/ 977768 h 6857999"/>
              <a:gd name="connsiteX241" fmla="*/ 495734 w 7366504"/>
              <a:gd name="connsiteY241" fmla="*/ 976676 h 6857999"/>
              <a:gd name="connsiteX242" fmla="*/ 507099 w 7366504"/>
              <a:gd name="connsiteY242" fmla="*/ 959822 h 6857999"/>
              <a:gd name="connsiteX243" fmla="*/ 525101 w 7366504"/>
              <a:gd name="connsiteY243" fmla="*/ 932508 h 6857999"/>
              <a:gd name="connsiteX244" fmla="*/ 579422 w 7366504"/>
              <a:gd name="connsiteY244" fmla="*/ 923454 h 6857999"/>
              <a:gd name="connsiteX245" fmla="*/ 706170 w 7366504"/>
              <a:gd name="connsiteY245" fmla="*/ 914401 h 6857999"/>
              <a:gd name="connsiteX246" fmla="*/ 688063 w 7366504"/>
              <a:gd name="connsiteY246" fmla="*/ 805759 h 6857999"/>
              <a:gd name="connsiteX247" fmla="*/ 660903 w 7366504"/>
              <a:gd name="connsiteY247" fmla="*/ 796706 h 6857999"/>
              <a:gd name="connsiteX248" fmla="*/ 298764 w 7366504"/>
              <a:gd name="connsiteY248" fmla="*/ 787652 h 6857999"/>
              <a:gd name="connsiteX249" fmla="*/ 271604 w 7366504"/>
              <a:gd name="connsiteY249" fmla="*/ 778599 h 6857999"/>
              <a:gd name="connsiteX250" fmla="*/ 262551 w 7366504"/>
              <a:gd name="connsiteY250" fmla="*/ 733332 h 6857999"/>
              <a:gd name="connsiteX251" fmla="*/ 253497 w 7366504"/>
              <a:gd name="connsiteY251" fmla="*/ 660904 h 6857999"/>
              <a:gd name="connsiteX252" fmla="*/ 235390 w 7366504"/>
              <a:gd name="connsiteY252" fmla="*/ 452674 h 6857999"/>
              <a:gd name="connsiteX253" fmla="*/ 253497 w 7366504"/>
              <a:gd name="connsiteY253" fmla="*/ 425514 h 6857999"/>
              <a:gd name="connsiteX254" fmla="*/ 262551 w 7366504"/>
              <a:gd name="connsiteY254" fmla="*/ 325926 h 6857999"/>
              <a:gd name="connsiteX255" fmla="*/ 190123 w 7366504"/>
              <a:gd name="connsiteY255" fmla="*/ 316872 h 6857999"/>
              <a:gd name="connsiteX256" fmla="*/ 162962 w 7366504"/>
              <a:gd name="connsiteY256" fmla="*/ 344033 h 6857999"/>
              <a:gd name="connsiteX257" fmla="*/ 135802 w 7366504"/>
              <a:gd name="connsiteY257" fmla="*/ 362140 h 6857999"/>
              <a:gd name="connsiteX258" fmla="*/ 95243 w 7366504"/>
              <a:gd name="connsiteY258" fmla="*/ 367210 h 6857999"/>
              <a:gd name="connsiteX259" fmla="*/ 90535 w 7366504"/>
              <a:gd name="connsiteY259" fmla="*/ 353086 h 6857999"/>
              <a:gd name="connsiteX260" fmla="*/ 81481 w 7366504"/>
              <a:gd name="connsiteY260" fmla="*/ 325926 h 6857999"/>
              <a:gd name="connsiteX261" fmla="*/ 45267 w 7366504"/>
              <a:gd name="connsiteY261" fmla="*/ 244445 h 6857999"/>
              <a:gd name="connsiteX262" fmla="*/ 18107 w 7366504"/>
              <a:gd name="connsiteY262" fmla="*/ 217284 h 6857999"/>
              <a:gd name="connsiteX263" fmla="*/ 561 w 7366504"/>
              <a:gd name="connsiteY263" fmla="*/ 211152 h 6857999"/>
              <a:gd name="connsiteX264" fmla="*/ 0 w 7366504"/>
              <a:gd name="connsiteY264" fmla="*/ 211065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</a:cxnLst>
            <a:rect l="l" t="t" r="r" b="b"/>
            <a:pathLst>
              <a:path w="7366504" h="6857999">
                <a:moveTo>
                  <a:pt x="307402" y="6842737"/>
                </a:moveTo>
                <a:lnTo>
                  <a:pt x="325925" y="6844421"/>
                </a:lnTo>
                <a:cubicBezTo>
                  <a:pt x="344156" y="6846566"/>
                  <a:pt x="362139" y="6850456"/>
                  <a:pt x="380246" y="6853474"/>
                </a:cubicBezTo>
                <a:lnTo>
                  <a:pt x="395826" y="6857999"/>
                </a:lnTo>
                <a:lnTo>
                  <a:pt x="312033" y="6857999"/>
                </a:lnTo>
                <a:lnTo>
                  <a:pt x="308821" y="6848965"/>
                </a:lnTo>
                <a:close/>
                <a:moveTo>
                  <a:pt x="1718403" y="3103974"/>
                </a:moveTo>
                <a:lnTo>
                  <a:pt x="1726925" y="3112699"/>
                </a:lnTo>
                <a:lnTo>
                  <a:pt x="1753919" y="3130850"/>
                </a:lnTo>
                <a:lnTo>
                  <a:pt x="1747319" y="3132500"/>
                </a:lnTo>
                <a:cubicBezTo>
                  <a:pt x="1737318" y="3136786"/>
                  <a:pt x="1729605" y="3145208"/>
                  <a:pt x="1720158" y="3150607"/>
                </a:cubicBezTo>
                <a:lnTo>
                  <a:pt x="1713147" y="3154113"/>
                </a:lnTo>
                <a:close/>
                <a:moveTo>
                  <a:pt x="1705315" y="2773960"/>
                </a:moveTo>
                <a:lnTo>
                  <a:pt x="1706226" y="2774893"/>
                </a:lnTo>
                <a:cubicBezTo>
                  <a:pt x="1707678" y="2776413"/>
                  <a:pt x="1707708" y="2776489"/>
                  <a:pt x="1707013" y="2775781"/>
                </a:cubicBezTo>
                <a:close/>
                <a:moveTo>
                  <a:pt x="0" y="0"/>
                </a:moveTo>
                <a:lnTo>
                  <a:pt x="7366504" y="0"/>
                </a:lnTo>
                <a:lnTo>
                  <a:pt x="7366504" y="6857999"/>
                </a:lnTo>
                <a:lnTo>
                  <a:pt x="1511932" y="6857999"/>
                </a:lnTo>
                <a:lnTo>
                  <a:pt x="1520982" y="6853474"/>
                </a:lnTo>
                <a:cubicBezTo>
                  <a:pt x="1539089" y="6850456"/>
                  <a:pt x="1557383" y="6848403"/>
                  <a:pt x="1575303" y="6844421"/>
                </a:cubicBezTo>
                <a:cubicBezTo>
                  <a:pt x="1599278" y="6839093"/>
                  <a:pt x="1616539" y="6828329"/>
                  <a:pt x="1638677" y="6817260"/>
                </a:cubicBezTo>
                <a:cubicBezTo>
                  <a:pt x="1655748" y="6808724"/>
                  <a:pt x="1675277" y="6806241"/>
                  <a:pt x="1692998" y="6799153"/>
                </a:cubicBezTo>
                <a:cubicBezTo>
                  <a:pt x="1705529" y="6794141"/>
                  <a:pt x="1716807" y="6786363"/>
                  <a:pt x="1729212" y="6781047"/>
                </a:cubicBezTo>
                <a:cubicBezTo>
                  <a:pt x="1737984" y="6777288"/>
                  <a:pt x="1747836" y="6776261"/>
                  <a:pt x="1756372" y="6771993"/>
                </a:cubicBezTo>
                <a:cubicBezTo>
                  <a:pt x="1766104" y="6767127"/>
                  <a:pt x="1774479" y="6759922"/>
                  <a:pt x="1783533" y="6753886"/>
                </a:cubicBezTo>
                <a:cubicBezTo>
                  <a:pt x="1805992" y="6738914"/>
                  <a:pt x="1831387" y="6728841"/>
                  <a:pt x="1855960" y="6717672"/>
                </a:cubicBezTo>
                <a:cubicBezTo>
                  <a:pt x="1874320" y="6709327"/>
                  <a:pt x="1900729" y="6704881"/>
                  <a:pt x="1919335" y="6699565"/>
                </a:cubicBezTo>
                <a:cubicBezTo>
                  <a:pt x="1928511" y="6696943"/>
                  <a:pt x="1937959" y="6694780"/>
                  <a:pt x="1946495" y="6690512"/>
                </a:cubicBezTo>
                <a:cubicBezTo>
                  <a:pt x="1956227" y="6685646"/>
                  <a:pt x="1964602" y="6678441"/>
                  <a:pt x="1973655" y="6672405"/>
                </a:cubicBezTo>
                <a:cubicBezTo>
                  <a:pt x="1985726" y="6669387"/>
                  <a:pt x="1998992" y="6669394"/>
                  <a:pt x="2009869" y="6663351"/>
                </a:cubicBezTo>
                <a:cubicBezTo>
                  <a:pt x="2026761" y="6653967"/>
                  <a:pt x="2041473" y="6640802"/>
                  <a:pt x="2055137" y="6627138"/>
                </a:cubicBezTo>
                <a:cubicBezTo>
                  <a:pt x="2062831" y="6619444"/>
                  <a:pt x="2066920" y="6608831"/>
                  <a:pt x="2073244" y="6599977"/>
                </a:cubicBezTo>
                <a:cubicBezTo>
                  <a:pt x="2082014" y="6587698"/>
                  <a:pt x="2090584" y="6575220"/>
                  <a:pt x="2100404" y="6563763"/>
                </a:cubicBezTo>
                <a:cubicBezTo>
                  <a:pt x="2164228" y="6489300"/>
                  <a:pt x="2084298" y="6601501"/>
                  <a:pt x="2163778" y="6482282"/>
                </a:cubicBezTo>
                <a:cubicBezTo>
                  <a:pt x="2175849" y="6473229"/>
                  <a:pt x="2190332" y="6466714"/>
                  <a:pt x="2199992" y="6455122"/>
                </a:cubicBezTo>
                <a:cubicBezTo>
                  <a:pt x="2206102" y="6447791"/>
                  <a:pt x="2204778" y="6436497"/>
                  <a:pt x="2209046" y="6427961"/>
                </a:cubicBezTo>
                <a:cubicBezTo>
                  <a:pt x="2213912" y="6418229"/>
                  <a:pt x="2222287" y="6410533"/>
                  <a:pt x="2227153" y="6400801"/>
                </a:cubicBezTo>
                <a:cubicBezTo>
                  <a:pt x="2237500" y="6380107"/>
                  <a:pt x="2240094" y="6349033"/>
                  <a:pt x="2245259" y="6328373"/>
                </a:cubicBezTo>
                <a:cubicBezTo>
                  <a:pt x="2281624" y="6182912"/>
                  <a:pt x="2244603" y="6327104"/>
                  <a:pt x="2281473" y="6228785"/>
                </a:cubicBezTo>
                <a:cubicBezTo>
                  <a:pt x="2290487" y="6204747"/>
                  <a:pt x="2295108" y="6160611"/>
                  <a:pt x="2299580" y="6138251"/>
                </a:cubicBezTo>
                <a:lnTo>
                  <a:pt x="2309870" y="6098974"/>
                </a:lnTo>
                <a:lnTo>
                  <a:pt x="2372008" y="6147304"/>
                </a:lnTo>
                <a:cubicBezTo>
                  <a:pt x="2390115" y="6150322"/>
                  <a:pt x="2408679" y="6151314"/>
                  <a:pt x="2426329" y="6156357"/>
                </a:cubicBezTo>
                <a:cubicBezTo>
                  <a:pt x="2479629" y="6171586"/>
                  <a:pt x="2505594" y="6186937"/>
                  <a:pt x="2553077" y="6210678"/>
                </a:cubicBezTo>
                <a:cubicBezTo>
                  <a:pt x="2592309" y="6213696"/>
                  <a:pt x="2631424" y="6219732"/>
                  <a:pt x="2670772" y="6219732"/>
                </a:cubicBezTo>
                <a:cubicBezTo>
                  <a:pt x="2758172" y="6219732"/>
                  <a:pt x="2681116" y="6199036"/>
                  <a:pt x="2743200" y="6219732"/>
                </a:cubicBezTo>
                <a:cubicBezTo>
                  <a:pt x="2788467" y="6222750"/>
                  <a:pt x="2833859" y="6224271"/>
                  <a:pt x="2879002" y="6228785"/>
                </a:cubicBezTo>
                <a:cubicBezTo>
                  <a:pt x="2894313" y="6230316"/>
                  <a:pt x="2909248" y="6234501"/>
                  <a:pt x="2924269" y="6237839"/>
                </a:cubicBezTo>
                <a:cubicBezTo>
                  <a:pt x="2936416" y="6240538"/>
                  <a:pt x="2948102" y="6245654"/>
                  <a:pt x="2960483" y="6246892"/>
                </a:cubicBezTo>
                <a:cubicBezTo>
                  <a:pt x="3008622" y="6251706"/>
                  <a:pt x="3057054" y="6252928"/>
                  <a:pt x="3105339" y="6255946"/>
                </a:cubicBezTo>
                <a:cubicBezTo>
                  <a:pt x="3114392" y="6252928"/>
                  <a:pt x="3123141" y="6248764"/>
                  <a:pt x="3132499" y="6246892"/>
                </a:cubicBezTo>
                <a:cubicBezTo>
                  <a:pt x="3153424" y="6242707"/>
                  <a:pt x="3178118" y="6249676"/>
                  <a:pt x="3195873" y="6237839"/>
                </a:cubicBezTo>
                <a:cubicBezTo>
                  <a:pt x="3209395" y="6228824"/>
                  <a:pt x="3207944" y="6207660"/>
                  <a:pt x="3213980" y="6192571"/>
                </a:cubicBezTo>
                <a:cubicBezTo>
                  <a:pt x="3206617" y="6170480"/>
                  <a:pt x="3204371" y="6155801"/>
                  <a:pt x="3186820" y="6138251"/>
                </a:cubicBezTo>
                <a:cubicBezTo>
                  <a:pt x="3179126" y="6130557"/>
                  <a:pt x="3168713" y="6126180"/>
                  <a:pt x="3159659" y="6120144"/>
                </a:cubicBezTo>
                <a:cubicBezTo>
                  <a:pt x="3125498" y="6114450"/>
                  <a:pt x="3105678" y="6112779"/>
                  <a:pt x="3079746" y="6104230"/>
                </a:cubicBezTo>
                <a:lnTo>
                  <a:pt x="3056815" y="6095253"/>
                </a:lnTo>
                <a:lnTo>
                  <a:pt x="3223034" y="6102037"/>
                </a:lnTo>
                <a:cubicBezTo>
                  <a:pt x="3247176" y="6096001"/>
                  <a:pt x="3272074" y="6092434"/>
                  <a:pt x="3295461" y="6083930"/>
                </a:cubicBezTo>
                <a:cubicBezTo>
                  <a:pt x="3305687" y="6080211"/>
                  <a:pt x="3312890" y="6070689"/>
                  <a:pt x="3322622" y="6065823"/>
                </a:cubicBezTo>
                <a:cubicBezTo>
                  <a:pt x="3331158" y="6061555"/>
                  <a:pt x="3341246" y="6061037"/>
                  <a:pt x="3349782" y="6056769"/>
                </a:cubicBezTo>
                <a:cubicBezTo>
                  <a:pt x="3365521" y="6048899"/>
                  <a:pt x="3379961" y="6038662"/>
                  <a:pt x="3395050" y="6029609"/>
                </a:cubicBezTo>
                <a:cubicBezTo>
                  <a:pt x="3502371" y="6002777"/>
                  <a:pt x="3332498" y="6043928"/>
                  <a:pt x="3494638" y="6011502"/>
                </a:cubicBezTo>
                <a:cubicBezTo>
                  <a:pt x="3503996" y="6009631"/>
                  <a:pt x="3512622" y="6005071"/>
                  <a:pt x="3521798" y="6002449"/>
                </a:cubicBezTo>
                <a:cubicBezTo>
                  <a:pt x="3601373" y="5979713"/>
                  <a:pt x="3520052" y="6006048"/>
                  <a:pt x="3585172" y="5984342"/>
                </a:cubicBezTo>
                <a:cubicBezTo>
                  <a:pt x="3569238" y="5936536"/>
                  <a:pt x="3581413" y="5965122"/>
                  <a:pt x="3539905" y="5902860"/>
                </a:cubicBezTo>
                <a:cubicBezTo>
                  <a:pt x="3530852" y="5896824"/>
                  <a:pt x="3520439" y="5892447"/>
                  <a:pt x="3512745" y="5884753"/>
                </a:cubicBezTo>
                <a:cubicBezTo>
                  <a:pt x="3499948" y="5871956"/>
                  <a:pt x="3483632" y="5835582"/>
                  <a:pt x="3476531" y="5821379"/>
                </a:cubicBezTo>
                <a:cubicBezTo>
                  <a:pt x="3471665" y="5811647"/>
                  <a:pt x="3464460" y="5803272"/>
                  <a:pt x="3458424" y="5794219"/>
                </a:cubicBezTo>
                <a:cubicBezTo>
                  <a:pt x="3446353" y="5776112"/>
                  <a:pt x="3435267" y="5757308"/>
                  <a:pt x="3422210" y="5739898"/>
                </a:cubicBezTo>
                <a:cubicBezTo>
                  <a:pt x="3408068" y="5721042"/>
                  <a:pt x="3392602" y="5703193"/>
                  <a:pt x="3376943" y="5685577"/>
                </a:cubicBezTo>
                <a:cubicBezTo>
                  <a:pt x="3368437" y="5676008"/>
                  <a:pt x="3356884" y="5669070"/>
                  <a:pt x="3349782" y="5658417"/>
                </a:cubicBezTo>
                <a:cubicBezTo>
                  <a:pt x="3344488" y="5650476"/>
                  <a:pt x="3346691" y="5638708"/>
                  <a:pt x="3340729" y="5631256"/>
                </a:cubicBezTo>
                <a:cubicBezTo>
                  <a:pt x="3333932" y="5622759"/>
                  <a:pt x="3321262" y="5620844"/>
                  <a:pt x="3313568" y="5613150"/>
                </a:cubicBezTo>
                <a:cubicBezTo>
                  <a:pt x="3305874" y="5605456"/>
                  <a:pt x="3301497" y="5595043"/>
                  <a:pt x="3295461" y="5585989"/>
                </a:cubicBezTo>
                <a:cubicBezTo>
                  <a:pt x="3295461" y="5585989"/>
                  <a:pt x="3260164" y="5560343"/>
                  <a:pt x="3241141" y="5549775"/>
                </a:cubicBezTo>
                <a:cubicBezTo>
                  <a:pt x="3232799" y="5545140"/>
                  <a:pt x="3223034" y="5543740"/>
                  <a:pt x="3213980" y="5540722"/>
                </a:cubicBezTo>
                <a:lnTo>
                  <a:pt x="3186820" y="5549775"/>
                </a:lnTo>
                <a:cubicBezTo>
                  <a:pt x="3123445" y="5570900"/>
                  <a:pt x="3138534" y="5549775"/>
                  <a:pt x="3123446" y="5595043"/>
                </a:cubicBezTo>
                <a:cubicBezTo>
                  <a:pt x="3123446" y="5595043"/>
                  <a:pt x="3096964" y="5629899"/>
                  <a:pt x="3087232" y="5649363"/>
                </a:cubicBezTo>
                <a:cubicBezTo>
                  <a:pt x="3080478" y="5662872"/>
                  <a:pt x="3070262" y="5733073"/>
                  <a:pt x="3069125" y="5739898"/>
                </a:cubicBezTo>
                <a:cubicBezTo>
                  <a:pt x="3066107" y="5748951"/>
                  <a:pt x="3065365" y="5759118"/>
                  <a:pt x="3060071" y="5767058"/>
                </a:cubicBezTo>
                <a:cubicBezTo>
                  <a:pt x="3052969" y="5777711"/>
                  <a:pt x="3041108" y="5784383"/>
                  <a:pt x="3032911" y="5794219"/>
                </a:cubicBezTo>
                <a:cubicBezTo>
                  <a:pt x="3025945" y="5802578"/>
                  <a:pt x="3020840" y="5812326"/>
                  <a:pt x="3014804" y="5821379"/>
                </a:cubicBezTo>
                <a:cubicBezTo>
                  <a:pt x="3005751" y="5827415"/>
                  <a:pt x="2994610" y="5831127"/>
                  <a:pt x="2987644" y="5839486"/>
                </a:cubicBezTo>
                <a:cubicBezTo>
                  <a:pt x="2979004" y="5849854"/>
                  <a:pt x="2976233" y="5863982"/>
                  <a:pt x="2969537" y="5875700"/>
                </a:cubicBezTo>
                <a:cubicBezTo>
                  <a:pt x="2964139" y="5885147"/>
                  <a:pt x="2957466" y="5893807"/>
                  <a:pt x="2951430" y="5902860"/>
                </a:cubicBezTo>
                <a:cubicBezTo>
                  <a:pt x="2939359" y="5908896"/>
                  <a:pt x="2926198" y="5913122"/>
                  <a:pt x="2915216" y="5920967"/>
                </a:cubicBezTo>
                <a:cubicBezTo>
                  <a:pt x="2879457" y="5946509"/>
                  <a:pt x="2899476" y="5948940"/>
                  <a:pt x="2860895" y="5966235"/>
                </a:cubicBezTo>
                <a:lnTo>
                  <a:pt x="2701527" y="6033660"/>
                </a:lnTo>
                <a:lnTo>
                  <a:pt x="2616452" y="6029609"/>
                </a:lnTo>
                <a:cubicBezTo>
                  <a:pt x="2587865" y="6027227"/>
                  <a:pt x="2581657" y="6012921"/>
                  <a:pt x="2562131" y="5993395"/>
                </a:cubicBezTo>
                <a:cubicBezTo>
                  <a:pt x="2542000" y="5973264"/>
                  <a:pt x="2513846" y="5963217"/>
                  <a:pt x="2489703" y="5948128"/>
                </a:cubicBezTo>
                <a:lnTo>
                  <a:pt x="2419390" y="5904182"/>
                </a:lnTo>
                <a:lnTo>
                  <a:pt x="2426329" y="5893807"/>
                </a:lnTo>
                <a:cubicBezTo>
                  <a:pt x="2440133" y="5873101"/>
                  <a:pt x="2437888" y="5845388"/>
                  <a:pt x="2444436" y="5821379"/>
                </a:cubicBezTo>
                <a:cubicBezTo>
                  <a:pt x="2446947" y="5812172"/>
                  <a:pt x="2452625" y="5803723"/>
                  <a:pt x="2453489" y="5794219"/>
                </a:cubicBezTo>
                <a:cubicBezTo>
                  <a:pt x="2458687" y="5737037"/>
                  <a:pt x="2459525" y="5679542"/>
                  <a:pt x="2462543" y="5622203"/>
                </a:cubicBezTo>
                <a:cubicBezTo>
                  <a:pt x="2457047" y="5578237"/>
                  <a:pt x="2454803" y="5545976"/>
                  <a:pt x="2444436" y="5504508"/>
                </a:cubicBezTo>
                <a:cubicBezTo>
                  <a:pt x="2438541" y="5480929"/>
                  <a:pt x="2428447" y="5466546"/>
                  <a:pt x="2426329" y="5441134"/>
                </a:cubicBezTo>
                <a:cubicBezTo>
                  <a:pt x="2421310" y="5380911"/>
                  <a:pt x="2420293" y="5320421"/>
                  <a:pt x="2417275" y="5260064"/>
                </a:cubicBezTo>
                <a:cubicBezTo>
                  <a:pt x="2417275" y="5260064"/>
                  <a:pt x="2406920" y="5223185"/>
                  <a:pt x="2399168" y="5205744"/>
                </a:cubicBezTo>
                <a:cubicBezTo>
                  <a:pt x="2394749" y="5195801"/>
                  <a:pt x="2387097" y="5187637"/>
                  <a:pt x="2381061" y="5178583"/>
                </a:cubicBezTo>
                <a:cubicBezTo>
                  <a:pt x="2372008" y="5172547"/>
                  <a:pt x="2361595" y="5168170"/>
                  <a:pt x="2353901" y="5160476"/>
                </a:cubicBezTo>
                <a:cubicBezTo>
                  <a:pt x="2282699" y="5089274"/>
                  <a:pt x="2397609" y="5180300"/>
                  <a:pt x="2308634" y="5106155"/>
                </a:cubicBezTo>
                <a:cubicBezTo>
                  <a:pt x="2263364" y="5068430"/>
                  <a:pt x="2296564" y="5110686"/>
                  <a:pt x="2263366" y="5060888"/>
                </a:cubicBezTo>
                <a:cubicBezTo>
                  <a:pt x="2263366" y="5060888"/>
                  <a:pt x="2254147" y="5058300"/>
                  <a:pt x="2242747" y="5054742"/>
                </a:cubicBezTo>
                <a:lnTo>
                  <a:pt x="2213170" y="5044245"/>
                </a:lnTo>
                <a:lnTo>
                  <a:pt x="2218099" y="5024674"/>
                </a:lnTo>
                <a:cubicBezTo>
                  <a:pt x="2227152" y="5021656"/>
                  <a:pt x="2236723" y="5019889"/>
                  <a:pt x="2245259" y="5015621"/>
                </a:cubicBezTo>
                <a:cubicBezTo>
                  <a:pt x="2254991" y="5010755"/>
                  <a:pt x="2261623" y="4998864"/>
                  <a:pt x="2272420" y="4997514"/>
                </a:cubicBezTo>
                <a:cubicBezTo>
                  <a:pt x="2335376" y="4989644"/>
                  <a:pt x="2399169" y="4991478"/>
                  <a:pt x="2462543" y="4988460"/>
                </a:cubicBezTo>
                <a:cubicBezTo>
                  <a:pt x="2515860" y="5001790"/>
                  <a:pt x="2492610" y="4997298"/>
                  <a:pt x="2562131" y="5006567"/>
                </a:cubicBezTo>
                <a:cubicBezTo>
                  <a:pt x="2586248" y="5009783"/>
                  <a:pt x="2610328" y="5017824"/>
                  <a:pt x="2634558" y="5015621"/>
                </a:cubicBezTo>
                <a:cubicBezTo>
                  <a:pt x="2645394" y="5014636"/>
                  <a:pt x="2656853" y="5007246"/>
                  <a:pt x="2661719" y="4997514"/>
                </a:cubicBezTo>
                <a:cubicBezTo>
                  <a:pt x="2669928" y="4981095"/>
                  <a:pt x="2667754" y="4961300"/>
                  <a:pt x="2670772" y="4943193"/>
                </a:cubicBezTo>
                <a:cubicBezTo>
                  <a:pt x="2622484" y="4870762"/>
                  <a:pt x="2685864" y="4958286"/>
                  <a:pt x="2625505" y="4897926"/>
                </a:cubicBezTo>
                <a:cubicBezTo>
                  <a:pt x="2617811" y="4890232"/>
                  <a:pt x="2613434" y="4879819"/>
                  <a:pt x="2607398" y="4870765"/>
                </a:cubicBezTo>
                <a:cubicBezTo>
                  <a:pt x="2545685" y="4829622"/>
                  <a:pt x="2623496" y="4876130"/>
                  <a:pt x="2525917" y="4843605"/>
                </a:cubicBezTo>
                <a:cubicBezTo>
                  <a:pt x="2515594" y="4840164"/>
                  <a:pt x="2507810" y="4831534"/>
                  <a:pt x="2498756" y="4825498"/>
                </a:cubicBezTo>
                <a:cubicBezTo>
                  <a:pt x="2483667" y="4822480"/>
                  <a:pt x="2468417" y="4820177"/>
                  <a:pt x="2453489" y="4816445"/>
                </a:cubicBezTo>
                <a:cubicBezTo>
                  <a:pt x="2444231" y="4814130"/>
                  <a:pt x="2435505" y="4810013"/>
                  <a:pt x="2426329" y="4807391"/>
                </a:cubicBezTo>
                <a:cubicBezTo>
                  <a:pt x="2414365" y="4803973"/>
                  <a:pt x="2402186" y="4801356"/>
                  <a:pt x="2390115" y="4798338"/>
                </a:cubicBezTo>
                <a:cubicBezTo>
                  <a:pt x="2385486" y="4797181"/>
                  <a:pt x="2382417" y="4794339"/>
                  <a:pt x="2380323" y="4790444"/>
                </a:cubicBezTo>
                <a:lnTo>
                  <a:pt x="2379582" y="4787773"/>
                </a:lnTo>
                <a:lnTo>
                  <a:pt x="2379586" y="4787771"/>
                </a:lnTo>
                <a:cubicBezTo>
                  <a:pt x="2384365" y="4783907"/>
                  <a:pt x="2390448" y="4778652"/>
                  <a:pt x="2399168" y="4771177"/>
                </a:cubicBezTo>
                <a:cubicBezTo>
                  <a:pt x="2408889" y="4762845"/>
                  <a:pt x="2416086" y="4751699"/>
                  <a:pt x="2426329" y="4744017"/>
                </a:cubicBezTo>
                <a:cubicBezTo>
                  <a:pt x="2440406" y="4733459"/>
                  <a:pt x="2457519" y="4727414"/>
                  <a:pt x="2471596" y="4716856"/>
                </a:cubicBezTo>
                <a:cubicBezTo>
                  <a:pt x="2481839" y="4709174"/>
                  <a:pt x="2488337" y="4697138"/>
                  <a:pt x="2498756" y="4689696"/>
                </a:cubicBezTo>
                <a:cubicBezTo>
                  <a:pt x="2563214" y="4643655"/>
                  <a:pt x="2515294" y="4712406"/>
                  <a:pt x="2589291" y="4617268"/>
                </a:cubicBezTo>
                <a:cubicBezTo>
                  <a:pt x="2595150" y="4609735"/>
                  <a:pt x="2595327" y="4599161"/>
                  <a:pt x="2598345" y="4590108"/>
                </a:cubicBezTo>
                <a:cubicBezTo>
                  <a:pt x="2605227" y="4569463"/>
                  <a:pt x="2622487" y="4553894"/>
                  <a:pt x="2634558" y="4535787"/>
                </a:cubicBezTo>
                <a:cubicBezTo>
                  <a:pt x="2634558" y="4535787"/>
                  <a:pt x="2672501" y="4513903"/>
                  <a:pt x="2688879" y="4499573"/>
                </a:cubicBezTo>
                <a:cubicBezTo>
                  <a:pt x="2697068" y="4492408"/>
                  <a:pt x="2700950" y="4481466"/>
                  <a:pt x="2706986" y="4472413"/>
                </a:cubicBezTo>
                <a:cubicBezTo>
                  <a:pt x="2716040" y="4466377"/>
                  <a:pt x="2726453" y="4462000"/>
                  <a:pt x="2734147" y="4454306"/>
                </a:cubicBezTo>
                <a:cubicBezTo>
                  <a:pt x="2754986" y="4433467"/>
                  <a:pt x="2754381" y="4418634"/>
                  <a:pt x="2761307" y="4390932"/>
                </a:cubicBezTo>
                <a:cubicBezTo>
                  <a:pt x="2806774" y="4379565"/>
                  <a:pt x="2785720" y="4385812"/>
                  <a:pt x="2824681" y="4372825"/>
                </a:cubicBezTo>
                <a:cubicBezTo>
                  <a:pt x="2842788" y="4366789"/>
                  <a:pt x="2862817" y="4364834"/>
                  <a:pt x="2879002" y="4354718"/>
                </a:cubicBezTo>
                <a:cubicBezTo>
                  <a:pt x="2888229" y="4348951"/>
                  <a:pt x="2891073" y="4336611"/>
                  <a:pt x="2897109" y="4327557"/>
                </a:cubicBezTo>
                <a:cubicBezTo>
                  <a:pt x="2897109" y="4327557"/>
                  <a:pt x="2935053" y="4305674"/>
                  <a:pt x="2951430" y="4291344"/>
                </a:cubicBezTo>
                <a:cubicBezTo>
                  <a:pt x="2959619" y="4284179"/>
                  <a:pt x="2964671" y="4273915"/>
                  <a:pt x="2969537" y="4264183"/>
                </a:cubicBezTo>
                <a:cubicBezTo>
                  <a:pt x="2973805" y="4255647"/>
                  <a:pt x="2974831" y="4245794"/>
                  <a:pt x="2978590" y="4237023"/>
                </a:cubicBezTo>
                <a:cubicBezTo>
                  <a:pt x="2984917" y="4222260"/>
                  <a:pt x="3003776" y="4192409"/>
                  <a:pt x="3005751" y="4173649"/>
                </a:cubicBezTo>
                <a:cubicBezTo>
                  <a:pt x="3010816" y="4125535"/>
                  <a:pt x="3011786" y="4077078"/>
                  <a:pt x="3014804" y="4028793"/>
                </a:cubicBezTo>
                <a:cubicBezTo>
                  <a:pt x="3011995" y="4020366"/>
                  <a:pt x="3009693" y="4013443"/>
                  <a:pt x="3007830" y="4007826"/>
                </a:cubicBezTo>
                <a:lnTo>
                  <a:pt x="3004501" y="3997766"/>
                </a:lnTo>
                <a:lnTo>
                  <a:pt x="3004152" y="3996663"/>
                </a:lnTo>
                <a:cubicBezTo>
                  <a:pt x="3000953" y="3986779"/>
                  <a:pt x="2999263" y="3981880"/>
                  <a:pt x="3003485" y="3994695"/>
                </a:cubicBezTo>
                <a:lnTo>
                  <a:pt x="3004501" y="3997766"/>
                </a:lnTo>
                <a:lnTo>
                  <a:pt x="3009533" y="4013639"/>
                </a:lnTo>
                <a:cubicBezTo>
                  <a:pt x="3016748" y="4037017"/>
                  <a:pt x="3021194" y="4054884"/>
                  <a:pt x="2987644" y="3965419"/>
                </a:cubicBezTo>
                <a:cubicBezTo>
                  <a:pt x="2983275" y="3953768"/>
                  <a:pt x="2982008" y="3941169"/>
                  <a:pt x="2978590" y="3929205"/>
                </a:cubicBezTo>
                <a:cubicBezTo>
                  <a:pt x="2971334" y="3903810"/>
                  <a:pt x="2965227" y="3889977"/>
                  <a:pt x="2951430" y="3865831"/>
                </a:cubicBezTo>
                <a:cubicBezTo>
                  <a:pt x="2946031" y="3856384"/>
                  <a:pt x="2940289" y="3847029"/>
                  <a:pt x="2933323" y="3838670"/>
                </a:cubicBezTo>
                <a:lnTo>
                  <a:pt x="2919094" y="3823798"/>
                </a:lnTo>
                <a:lnTo>
                  <a:pt x="2924269" y="3820563"/>
                </a:lnTo>
                <a:cubicBezTo>
                  <a:pt x="2939256" y="3811340"/>
                  <a:pt x="2954615" y="3802729"/>
                  <a:pt x="2969537" y="3793403"/>
                </a:cubicBezTo>
                <a:cubicBezTo>
                  <a:pt x="2978764" y="3787636"/>
                  <a:pt x="2989731" y="3783655"/>
                  <a:pt x="2996697" y="3775296"/>
                </a:cubicBezTo>
                <a:cubicBezTo>
                  <a:pt x="3005337" y="3764928"/>
                  <a:pt x="3012672" y="3752409"/>
                  <a:pt x="3014804" y="3739082"/>
                </a:cubicBezTo>
                <a:cubicBezTo>
                  <a:pt x="3043756" y="3558130"/>
                  <a:pt x="3045034" y="3597450"/>
                  <a:pt x="3014804" y="3476532"/>
                </a:cubicBezTo>
                <a:cubicBezTo>
                  <a:pt x="3003465" y="3453854"/>
                  <a:pt x="2989683" y="3420892"/>
                  <a:pt x="2969537" y="3404104"/>
                </a:cubicBezTo>
                <a:cubicBezTo>
                  <a:pt x="2962206" y="3397995"/>
                  <a:pt x="2950317" y="3400345"/>
                  <a:pt x="2942376" y="3395051"/>
                </a:cubicBezTo>
                <a:cubicBezTo>
                  <a:pt x="2931723" y="3387949"/>
                  <a:pt x="2924269" y="3376944"/>
                  <a:pt x="2915216" y="3367890"/>
                </a:cubicBezTo>
                <a:cubicBezTo>
                  <a:pt x="2906162" y="3364872"/>
                  <a:pt x="2896591" y="3363105"/>
                  <a:pt x="2888055" y="3358837"/>
                </a:cubicBezTo>
                <a:cubicBezTo>
                  <a:pt x="2872316" y="3350967"/>
                  <a:pt x="2860125" y="3334691"/>
                  <a:pt x="2842788" y="3331676"/>
                </a:cubicBezTo>
                <a:cubicBezTo>
                  <a:pt x="2735218" y="3312968"/>
                  <a:pt x="2672807" y="3323208"/>
                  <a:pt x="2571184" y="3331676"/>
                </a:cubicBezTo>
                <a:cubicBezTo>
                  <a:pt x="2516454" y="3317994"/>
                  <a:pt x="2546774" y="3326558"/>
                  <a:pt x="2480650" y="3304516"/>
                </a:cubicBezTo>
                <a:cubicBezTo>
                  <a:pt x="2441418" y="3301498"/>
                  <a:pt x="2401998" y="3300343"/>
                  <a:pt x="2362954" y="3295462"/>
                </a:cubicBezTo>
                <a:cubicBezTo>
                  <a:pt x="2353485" y="3294278"/>
                  <a:pt x="2344330" y="3290677"/>
                  <a:pt x="2335794" y="3286409"/>
                </a:cubicBezTo>
                <a:cubicBezTo>
                  <a:pt x="2305523" y="3271274"/>
                  <a:pt x="2273506" y="3235573"/>
                  <a:pt x="2254313" y="3213981"/>
                </a:cubicBezTo>
                <a:lnTo>
                  <a:pt x="2241772" y="3195170"/>
                </a:lnTo>
                <a:lnTo>
                  <a:pt x="2245259" y="3195874"/>
                </a:lnTo>
                <a:cubicBezTo>
                  <a:pt x="2491675" y="3210808"/>
                  <a:pt x="2420418" y="3231042"/>
                  <a:pt x="2525917" y="3195874"/>
                </a:cubicBezTo>
                <a:lnTo>
                  <a:pt x="2507810" y="3168714"/>
                </a:lnTo>
                <a:lnTo>
                  <a:pt x="2489703" y="3141553"/>
                </a:lnTo>
                <a:lnTo>
                  <a:pt x="2435382" y="3060072"/>
                </a:lnTo>
                <a:cubicBezTo>
                  <a:pt x="2421578" y="3039366"/>
                  <a:pt x="2423311" y="3011787"/>
                  <a:pt x="2417275" y="2987645"/>
                </a:cubicBezTo>
                <a:cubicBezTo>
                  <a:pt x="2414960" y="2978387"/>
                  <a:pt x="2411240" y="2969538"/>
                  <a:pt x="2408222" y="2960484"/>
                </a:cubicBezTo>
                <a:cubicBezTo>
                  <a:pt x="2402186" y="2942377"/>
                  <a:pt x="2392223" y="2925133"/>
                  <a:pt x="2390115" y="2906163"/>
                </a:cubicBezTo>
                <a:cubicBezTo>
                  <a:pt x="2389061" y="2896678"/>
                  <a:pt x="2397296" y="2888362"/>
                  <a:pt x="2399168" y="2879003"/>
                </a:cubicBezTo>
                <a:cubicBezTo>
                  <a:pt x="2403353" y="2858079"/>
                  <a:pt x="2405204" y="2836754"/>
                  <a:pt x="2408222" y="2815629"/>
                </a:cubicBezTo>
                <a:cubicBezTo>
                  <a:pt x="2405204" y="2803558"/>
                  <a:pt x="2403537" y="2791066"/>
                  <a:pt x="2399168" y="2779415"/>
                </a:cubicBezTo>
                <a:cubicBezTo>
                  <a:pt x="2347283" y="2641056"/>
                  <a:pt x="2245596" y="2739636"/>
                  <a:pt x="2037030" y="2734148"/>
                </a:cubicBezTo>
                <a:cubicBezTo>
                  <a:pt x="2008822" y="2743550"/>
                  <a:pt x="1997377" y="2748612"/>
                  <a:pt x="1964602" y="2752254"/>
                </a:cubicBezTo>
                <a:cubicBezTo>
                  <a:pt x="1925495" y="2756599"/>
                  <a:pt x="1884777" y="2750627"/>
                  <a:pt x="1846907" y="2761308"/>
                </a:cubicBezTo>
                <a:lnTo>
                  <a:pt x="1740269" y="2799525"/>
                </a:lnTo>
                <a:lnTo>
                  <a:pt x="1729212" y="2788468"/>
                </a:lnTo>
                <a:cubicBezTo>
                  <a:pt x="1691391" y="2756950"/>
                  <a:pt x="1697653" y="2765474"/>
                  <a:pt x="1703450" y="2771958"/>
                </a:cubicBezTo>
                <a:lnTo>
                  <a:pt x="1705315" y="2773960"/>
                </a:lnTo>
                <a:lnTo>
                  <a:pt x="1696911" y="2765348"/>
                </a:lnTo>
                <a:cubicBezTo>
                  <a:pt x="1691920" y="2760285"/>
                  <a:pt x="1684813" y="2753122"/>
                  <a:pt x="1674891" y="2743202"/>
                </a:cubicBezTo>
                <a:cubicBezTo>
                  <a:pt x="1665838" y="2740183"/>
                  <a:pt x="1656989" y="2736463"/>
                  <a:pt x="1647731" y="2734148"/>
                </a:cubicBezTo>
                <a:cubicBezTo>
                  <a:pt x="1612421" y="2725321"/>
                  <a:pt x="1574871" y="2721152"/>
                  <a:pt x="1539089" y="2716041"/>
                </a:cubicBezTo>
                <a:cubicBezTo>
                  <a:pt x="1529642" y="2714691"/>
                  <a:pt x="1520982" y="2710005"/>
                  <a:pt x="1511929" y="2706987"/>
                </a:cubicBezTo>
                <a:lnTo>
                  <a:pt x="1430448" y="2679828"/>
                </a:lnTo>
                <a:cubicBezTo>
                  <a:pt x="1394234" y="2676810"/>
                  <a:pt x="1358059" y="2673273"/>
                  <a:pt x="1321806" y="2670774"/>
                </a:cubicBezTo>
                <a:lnTo>
                  <a:pt x="1247070" y="2666378"/>
                </a:lnTo>
                <a:lnTo>
                  <a:pt x="1234456" y="2642353"/>
                </a:lnTo>
                <a:cubicBezTo>
                  <a:pt x="1227359" y="2633721"/>
                  <a:pt x="1219200" y="2625507"/>
                  <a:pt x="1213164" y="2616452"/>
                </a:cubicBezTo>
                <a:cubicBezTo>
                  <a:pt x="1176950" y="2592311"/>
                  <a:pt x="1192040" y="2607401"/>
                  <a:pt x="1167897" y="2571186"/>
                </a:cubicBezTo>
                <a:cubicBezTo>
                  <a:pt x="1155826" y="2553079"/>
                  <a:pt x="1140053" y="2536952"/>
                  <a:pt x="1131683" y="2516865"/>
                </a:cubicBezTo>
                <a:cubicBezTo>
                  <a:pt x="1124623" y="2499921"/>
                  <a:pt x="1125648" y="2480651"/>
                  <a:pt x="1122630" y="2462544"/>
                </a:cubicBezTo>
                <a:cubicBezTo>
                  <a:pt x="1122630" y="2462544"/>
                  <a:pt x="1096985" y="2427246"/>
                  <a:pt x="1086416" y="2408224"/>
                </a:cubicBezTo>
                <a:cubicBezTo>
                  <a:pt x="1081781" y="2399881"/>
                  <a:pt x="1081630" y="2389598"/>
                  <a:pt x="1077362" y="2381062"/>
                </a:cubicBezTo>
                <a:cubicBezTo>
                  <a:pt x="1072496" y="2371331"/>
                  <a:pt x="1065291" y="2362955"/>
                  <a:pt x="1059255" y="2353902"/>
                </a:cubicBezTo>
                <a:cubicBezTo>
                  <a:pt x="1045051" y="2332596"/>
                  <a:pt x="1021947" y="2318720"/>
                  <a:pt x="1004935" y="2299582"/>
                </a:cubicBezTo>
                <a:cubicBezTo>
                  <a:pt x="977615" y="2268847"/>
                  <a:pt x="987858" y="2261159"/>
                  <a:pt x="968721" y="2218100"/>
                </a:cubicBezTo>
                <a:cubicBezTo>
                  <a:pt x="964302" y="2208157"/>
                  <a:pt x="956650" y="2199994"/>
                  <a:pt x="950614" y="2190941"/>
                </a:cubicBezTo>
                <a:cubicBezTo>
                  <a:pt x="941560" y="2187923"/>
                  <a:pt x="931394" y="2187180"/>
                  <a:pt x="923453" y="2181887"/>
                </a:cubicBezTo>
                <a:cubicBezTo>
                  <a:pt x="893697" y="2162048"/>
                  <a:pt x="899062" y="2152617"/>
                  <a:pt x="878186" y="2127565"/>
                </a:cubicBezTo>
                <a:cubicBezTo>
                  <a:pt x="820091" y="2057852"/>
                  <a:pt x="877879" y="2140684"/>
                  <a:pt x="832919" y="2073245"/>
                </a:cubicBezTo>
                <a:cubicBezTo>
                  <a:pt x="823865" y="2067210"/>
                  <a:pt x="814612" y="2061464"/>
                  <a:pt x="805758" y="2055139"/>
                </a:cubicBezTo>
                <a:cubicBezTo>
                  <a:pt x="793480" y="2046369"/>
                  <a:pt x="782646" y="2035464"/>
                  <a:pt x="769545" y="2027977"/>
                </a:cubicBezTo>
                <a:cubicBezTo>
                  <a:pt x="761259" y="2023243"/>
                  <a:pt x="749132" y="2025672"/>
                  <a:pt x="742384" y="2018924"/>
                </a:cubicBezTo>
                <a:cubicBezTo>
                  <a:pt x="735636" y="2012176"/>
                  <a:pt x="736349" y="2000818"/>
                  <a:pt x="733331" y="1991764"/>
                </a:cubicBezTo>
                <a:cubicBezTo>
                  <a:pt x="724277" y="1982711"/>
                  <a:pt x="716823" y="1971705"/>
                  <a:pt x="706170" y="1964603"/>
                </a:cubicBezTo>
                <a:cubicBezTo>
                  <a:pt x="698230" y="1959311"/>
                  <a:pt x="686462" y="1961512"/>
                  <a:pt x="679010" y="1955550"/>
                </a:cubicBezTo>
                <a:cubicBezTo>
                  <a:pt x="670513" y="1948753"/>
                  <a:pt x="666939" y="1937444"/>
                  <a:pt x="660903" y="1928390"/>
                </a:cubicBezTo>
                <a:cubicBezTo>
                  <a:pt x="660903" y="1928390"/>
                  <a:pt x="623267" y="1919552"/>
                  <a:pt x="606582" y="1910282"/>
                </a:cubicBezTo>
                <a:cubicBezTo>
                  <a:pt x="595390" y="1904065"/>
                  <a:pt x="589258" y="1891318"/>
                  <a:pt x="579422" y="1883123"/>
                </a:cubicBezTo>
                <a:cubicBezTo>
                  <a:pt x="571063" y="1876156"/>
                  <a:pt x="559955" y="1872710"/>
                  <a:pt x="552261" y="1865016"/>
                </a:cubicBezTo>
                <a:cubicBezTo>
                  <a:pt x="530741" y="1843496"/>
                  <a:pt x="525012" y="1810428"/>
                  <a:pt x="516048" y="1783534"/>
                </a:cubicBezTo>
                <a:cubicBezTo>
                  <a:pt x="516048" y="1783534"/>
                  <a:pt x="506562" y="1778063"/>
                  <a:pt x="495029" y="1770801"/>
                </a:cubicBezTo>
                <a:lnTo>
                  <a:pt x="493665" y="1769904"/>
                </a:lnTo>
                <a:lnTo>
                  <a:pt x="516048" y="1765427"/>
                </a:lnTo>
                <a:cubicBezTo>
                  <a:pt x="599361" y="1759476"/>
                  <a:pt x="630764" y="1767757"/>
                  <a:pt x="697117" y="1738266"/>
                </a:cubicBezTo>
                <a:cubicBezTo>
                  <a:pt x="720397" y="1727919"/>
                  <a:pt x="731175" y="1715416"/>
                  <a:pt x="742384" y="1692999"/>
                </a:cubicBezTo>
                <a:cubicBezTo>
                  <a:pt x="746652" y="1684463"/>
                  <a:pt x="748420" y="1674892"/>
                  <a:pt x="751438" y="1665839"/>
                </a:cubicBezTo>
                <a:cubicBezTo>
                  <a:pt x="758320" y="1645194"/>
                  <a:pt x="775969" y="1629878"/>
                  <a:pt x="787652" y="1611518"/>
                </a:cubicBezTo>
                <a:cubicBezTo>
                  <a:pt x="817584" y="1564482"/>
                  <a:pt x="810407" y="1579466"/>
                  <a:pt x="823865" y="1539090"/>
                </a:cubicBezTo>
                <a:lnTo>
                  <a:pt x="841972" y="1511930"/>
                </a:lnTo>
                <a:cubicBezTo>
                  <a:pt x="841974" y="1511927"/>
                  <a:pt x="860078" y="1457613"/>
                  <a:pt x="860079" y="1457609"/>
                </a:cubicBezTo>
                <a:cubicBezTo>
                  <a:pt x="869133" y="1430449"/>
                  <a:pt x="883456" y="1404506"/>
                  <a:pt x="887240" y="1376128"/>
                </a:cubicBezTo>
                <a:cubicBezTo>
                  <a:pt x="895625" y="1313238"/>
                  <a:pt x="893275" y="1249379"/>
                  <a:pt x="896293" y="1186005"/>
                </a:cubicBezTo>
                <a:cubicBezTo>
                  <a:pt x="882972" y="1146041"/>
                  <a:pt x="891508" y="1167381"/>
                  <a:pt x="869133" y="1122631"/>
                </a:cubicBezTo>
                <a:cubicBezTo>
                  <a:pt x="863407" y="1111179"/>
                  <a:pt x="851026" y="1104524"/>
                  <a:pt x="841972" y="1095470"/>
                </a:cubicBezTo>
                <a:lnTo>
                  <a:pt x="787652" y="1041150"/>
                </a:lnTo>
                <a:cubicBezTo>
                  <a:pt x="769545" y="1023043"/>
                  <a:pt x="758800" y="989490"/>
                  <a:pt x="733331" y="986829"/>
                </a:cubicBezTo>
                <a:cubicBezTo>
                  <a:pt x="687553" y="982046"/>
                  <a:pt x="641652" y="979277"/>
                  <a:pt x="595676" y="977768"/>
                </a:cubicBezTo>
                <a:lnTo>
                  <a:pt x="495734" y="976676"/>
                </a:lnTo>
                <a:lnTo>
                  <a:pt x="507099" y="959822"/>
                </a:lnTo>
                <a:cubicBezTo>
                  <a:pt x="511661" y="949311"/>
                  <a:pt x="516187" y="938748"/>
                  <a:pt x="525101" y="932508"/>
                </a:cubicBezTo>
                <a:cubicBezTo>
                  <a:pt x="540139" y="921981"/>
                  <a:pt x="561315" y="926472"/>
                  <a:pt x="579422" y="923454"/>
                </a:cubicBezTo>
                <a:cubicBezTo>
                  <a:pt x="621671" y="920436"/>
                  <a:pt x="672013" y="939449"/>
                  <a:pt x="706170" y="914401"/>
                </a:cubicBezTo>
                <a:cubicBezTo>
                  <a:pt x="772730" y="865590"/>
                  <a:pt x="720216" y="821835"/>
                  <a:pt x="688063" y="805759"/>
                </a:cubicBezTo>
                <a:cubicBezTo>
                  <a:pt x="679527" y="801491"/>
                  <a:pt x="669956" y="799724"/>
                  <a:pt x="660903" y="796706"/>
                </a:cubicBezTo>
                <a:cubicBezTo>
                  <a:pt x="540190" y="793688"/>
                  <a:pt x="419384" y="793262"/>
                  <a:pt x="298764" y="787652"/>
                </a:cubicBezTo>
                <a:cubicBezTo>
                  <a:pt x="289231" y="787209"/>
                  <a:pt x="276897" y="786539"/>
                  <a:pt x="271604" y="778599"/>
                </a:cubicBezTo>
                <a:cubicBezTo>
                  <a:pt x="263068" y="765796"/>
                  <a:pt x="264891" y="748541"/>
                  <a:pt x="262551" y="733332"/>
                </a:cubicBezTo>
                <a:cubicBezTo>
                  <a:pt x="258851" y="709284"/>
                  <a:pt x="256713" y="685021"/>
                  <a:pt x="253497" y="660904"/>
                </a:cubicBezTo>
                <a:cubicBezTo>
                  <a:pt x="243952" y="589315"/>
                  <a:pt x="231380" y="528869"/>
                  <a:pt x="235390" y="452674"/>
                </a:cubicBezTo>
                <a:cubicBezTo>
                  <a:pt x="235962" y="441808"/>
                  <a:pt x="251217" y="436153"/>
                  <a:pt x="253497" y="425514"/>
                </a:cubicBezTo>
                <a:cubicBezTo>
                  <a:pt x="260481" y="392921"/>
                  <a:pt x="259533" y="359122"/>
                  <a:pt x="262551" y="325926"/>
                </a:cubicBezTo>
                <a:cubicBezTo>
                  <a:pt x="238408" y="322908"/>
                  <a:pt x="214061" y="312520"/>
                  <a:pt x="190123" y="316872"/>
                </a:cubicBezTo>
                <a:cubicBezTo>
                  <a:pt x="177526" y="319162"/>
                  <a:pt x="172798" y="335836"/>
                  <a:pt x="162962" y="344033"/>
                </a:cubicBezTo>
                <a:cubicBezTo>
                  <a:pt x="154603" y="350999"/>
                  <a:pt x="144855" y="356104"/>
                  <a:pt x="135802" y="362140"/>
                </a:cubicBezTo>
                <a:lnTo>
                  <a:pt x="95243" y="367210"/>
                </a:lnTo>
                <a:lnTo>
                  <a:pt x="90535" y="353086"/>
                </a:lnTo>
                <a:lnTo>
                  <a:pt x="81481" y="325926"/>
                </a:lnTo>
                <a:cubicBezTo>
                  <a:pt x="68321" y="286446"/>
                  <a:pt x="69180" y="273141"/>
                  <a:pt x="45267" y="244445"/>
                </a:cubicBezTo>
                <a:cubicBezTo>
                  <a:pt x="37070" y="234609"/>
                  <a:pt x="29224" y="223636"/>
                  <a:pt x="18107" y="217284"/>
                </a:cubicBezTo>
                <a:cubicBezTo>
                  <a:pt x="12706" y="214198"/>
                  <a:pt x="6727" y="212407"/>
                  <a:pt x="561" y="211152"/>
                </a:cubicBezTo>
                <a:lnTo>
                  <a:pt x="0" y="211065"/>
                </a:lnTo>
                <a:close/>
              </a:path>
            </a:pathLst>
          </a:cu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A98AF9B4-B14E-47CB-92C7-8AD01A9EA2AA}"/>
              </a:ext>
            </a:extLst>
          </p:cNvPr>
          <p:cNvSpPr/>
          <p:nvPr userDrawn="1"/>
        </p:nvSpPr>
        <p:spPr>
          <a:xfrm>
            <a:off x="3195962" y="-1"/>
            <a:ext cx="5524878" cy="5143501"/>
          </a:xfrm>
          <a:prstGeom prst="rect">
            <a:avLst/>
          </a:prstGeom>
          <a:gradFill>
            <a:gsLst>
              <a:gs pos="5000">
                <a:schemeClr val="tx1"/>
              </a:gs>
              <a:gs pos="68000">
                <a:schemeClr val="tx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1572449"/>
            <a:ext cx="6858000" cy="1790700"/>
          </a:xfrm>
        </p:spPr>
        <p:txBody>
          <a:bodyPr anchor="b">
            <a:norm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xmlns="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3363248"/>
            <a:ext cx="6858000" cy="354744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6D899D90-3467-4083-B67C-2A477EBF92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b="21786"/>
          <a:stretch/>
        </p:blipFill>
        <p:spPr>
          <a:xfrm>
            <a:off x="305472" y="251373"/>
            <a:ext cx="613703" cy="55459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361003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 кар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D1AFF3A0-BFF4-4029-9634-B72DC51BD6A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grpSp>
        <p:nvGrpSpPr>
          <p:cNvPr id="13" name="Group 159">
            <a:extLst>
              <a:ext uri="{FF2B5EF4-FFF2-40B4-BE49-F238E27FC236}">
                <a16:creationId xmlns:a16="http://schemas.microsoft.com/office/drawing/2014/main" xmlns="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288" y="406153"/>
            <a:ext cx="8474485" cy="4394447"/>
            <a:chOff x="363" y="356"/>
            <a:chExt cx="6954" cy="3606"/>
          </a:xfrm>
          <a:solidFill>
            <a:srgbClr val="171717">
              <a:alpha val="61000"/>
            </a:srgbClr>
          </a:solidFill>
        </p:grpSpPr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xmlns="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161">
              <a:extLst>
                <a:ext uri="{FF2B5EF4-FFF2-40B4-BE49-F238E27FC236}">
                  <a16:creationId xmlns:a16="http://schemas.microsoft.com/office/drawing/2014/main" xmlns="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62">
              <a:extLst>
                <a:ext uri="{FF2B5EF4-FFF2-40B4-BE49-F238E27FC236}">
                  <a16:creationId xmlns:a16="http://schemas.microsoft.com/office/drawing/2014/main" xmlns="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163">
              <a:extLst>
                <a:ext uri="{FF2B5EF4-FFF2-40B4-BE49-F238E27FC236}">
                  <a16:creationId xmlns:a16="http://schemas.microsoft.com/office/drawing/2014/main" xmlns="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64">
              <a:extLst>
                <a:ext uri="{FF2B5EF4-FFF2-40B4-BE49-F238E27FC236}">
                  <a16:creationId xmlns:a16="http://schemas.microsoft.com/office/drawing/2014/main" xmlns="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65">
              <a:extLst>
                <a:ext uri="{FF2B5EF4-FFF2-40B4-BE49-F238E27FC236}">
                  <a16:creationId xmlns:a16="http://schemas.microsoft.com/office/drawing/2014/main" xmlns="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66">
              <a:extLst>
                <a:ext uri="{FF2B5EF4-FFF2-40B4-BE49-F238E27FC236}">
                  <a16:creationId xmlns:a16="http://schemas.microsoft.com/office/drawing/2014/main" xmlns="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67">
              <a:extLst>
                <a:ext uri="{FF2B5EF4-FFF2-40B4-BE49-F238E27FC236}">
                  <a16:creationId xmlns:a16="http://schemas.microsoft.com/office/drawing/2014/main" xmlns="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xmlns="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xmlns="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70">
              <a:extLst>
                <a:ext uri="{FF2B5EF4-FFF2-40B4-BE49-F238E27FC236}">
                  <a16:creationId xmlns:a16="http://schemas.microsoft.com/office/drawing/2014/main" xmlns="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1">
              <a:extLst>
                <a:ext uri="{FF2B5EF4-FFF2-40B4-BE49-F238E27FC236}">
                  <a16:creationId xmlns:a16="http://schemas.microsoft.com/office/drawing/2014/main" xmlns="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2">
              <a:extLst>
                <a:ext uri="{FF2B5EF4-FFF2-40B4-BE49-F238E27FC236}">
                  <a16:creationId xmlns:a16="http://schemas.microsoft.com/office/drawing/2014/main" xmlns="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73">
              <a:extLst>
                <a:ext uri="{FF2B5EF4-FFF2-40B4-BE49-F238E27FC236}">
                  <a16:creationId xmlns:a16="http://schemas.microsoft.com/office/drawing/2014/main" xmlns="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74">
              <a:extLst>
                <a:ext uri="{FF2B5EF4-FFF2-40B4-BE49-F238E27FC236}">
                  <a16:creationId xmlns:a16="http://schemas.microsoft.com/office/drawing/2014/main" xmlns="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9" name="Freeform 175">
              <a:extLst>
                <a:ext uri="{FF2B5EF4-FFF2-40B4-BE49-F238E27FC236}">
                  <a16:creationId xmlns:a16="http://schemas.microsoft.com/office/drawing/2014/main" xmlns="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176">
              <a:extLst>
                <a:ext uri="{FF2B5EF4-FFF2-40B4-BE49-F238E27FC236}">
                  <a16:creationId xmlns:a16="http://schemas.microsoft.com/office/drawing/2014/main" xmlns="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177">
              <a:extLst>
                <a:ext uri="{FF2B5EF4-FFF2-40B4-BE49-F238E27FC236}">
                  <a16:creationId xmlns:a16="http://schemas.microsoft.com/office/drawing/2014/main" xmlns="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2" name="Freeform 178">
              <a:extLst>
                <a:ext uri="{FF2B5EF4-FFF2-40B4-BE49-F238E27FC236}">
                  <a16:creationId xmlns:a16="http://schemas.microsoft.com/office/drawing/2014/main" xmlns="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3" name="Freeform 179">
              <a:extLst>
                <a:ext uri="{FF2B5EF4-FFF2-40B4-BE49-F238E27FC236}">
                  <a16:creationId xmlns:a16="http://schemas.microsoft.com/office/drawing/2014/main" xmlns="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4" name="Freeform 180">
              <a:extLst>
                <a:ext uri="{FF2B5EF4-FFF2-40B4-BE49-F238E27FC236}">
                  <a16:creationId xmlns:a16="http://schemas.microsoft.com/office/drawing/2014/main" xmlns="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5" name="Freeform 181">
              <a:extLst>
                <a:ext uri="{FF2B5EF4-FFF2-40B4-BE49-F238E27FC236}">
                  <a16:creationId xmlns:a16="http://schemas.microsoft.com/office/drawing/2014/main" xmlns="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182">
              <a:extLst>
                <a:ext uri="{FF2B5EF4-FFF2-40B4-BE49-F238E27FC236}">
                  <a16:creationId xmlns:a16="http://schemas.microsoft.com/office/drawing/2014/main" xmlns="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183">
              <a:extLst>
                <a:ext uri="{FF2B5EF4-FFF2-40B4-BE49-F238E27FC236}">
                  <a16:creationId xmlns:a16="http://schemas.microsoft.com/office/drawing/2014/main" xmlns="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184">
              <a:extLst>
                <a:ext uri="{FF2B5EF4-FFF2-40B4-BE49-F238E27FC236}">
                  <a16:creationId xmlns:a16="http://schemas.microsoft.com/office/drawing/2014/main" xmlns="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185">
              <a:extLst>
                <a:ext uri="{FF2B5EF4-FFF2-40B4-BE49-F238E27FC236}">
                  <a16:creationId xmlns:a16="http://schemas.microsoft.com/office/drawing/2014/main" xmlns="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186">
              <a:extLst>
                <a:ext uri="{FF2B5EF4-FFF2-40B4-BE49-F238E27FC236}">
                  <a16:creationId xmlns:a16="http://schemas.microsoft.com/office/drawing/2014/main" xmlns="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187">
              <a:extLst>
                <a:ext uri="{FF2B5EF4-FFF2-40B4-BE49-F238E27FC236}">
                  <a16:creationId xmlns:a16="http://schemas.microsoft.com/office/drawing/2014/main" xmlns="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xmlns="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xmlns="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xmlns="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191">
              <a:extLst>
                <a:ext uri="{FF2B5EF4-FFF2-40B4-BE49-F238E27FC236}">
                  <a16:creationId xmlns:a16="http://schemas.microsoft.com/office/drawing/2014/main" xmlns="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Freeform 192">
              <a:extLst>
                <a:ext uri="{FF2B5EF4-FFF2-40B4-BE49-F238E27FC236}">
                  <a16:creationId xmlns:a16="http://schemas.microsoft.com/office/drawing/2014/main" xmlns="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Freeform 193">
              <a:extLst>
                <a:ext uri="{FF2B5EF4-FFF2-40B4-BE49-F238E27FC236}">
                  <a16:creationId xmlns:a16="http://schemas.microsoft.com/office/drawing/2014/main" xmlns="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8" name="Freeform 194">
              <a:extLst>
                <a:ext uri="{FF2B5EF4-FFF2-40B4-BE49-F238E27FC236}">
                  <a16:creationId xmlns:a16="http://schemas.microsoft.com/office/drawing/2014/main" xmlns="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195">
              <a:extLst>
                <a:ext uri="{FF2B5EF4-FFF2-40B4-BE49-F238E27FC236}">
                  <a16:creationId xmlns:a16="http://schemas.microsoft.com/office/drawing/2014/main" xmlns="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Freeform 196">
              <a:extLst>
                <a:ext uri="{FF2B5EF4-FFF2-40B4-BE49-F238E27FC236}">
                  <a16:creationId xmlns:a16="http://schemas.microsoft.com/office/drawing/2014/main" xmlns="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1" name="Freeform 197">
              <a:extLst>
                <a:ext uri="{FF2B5EF4-FFF2-40B4-BE49-F238E27FC236}">
                  <a16:creationId xmlns:a16="http://schemas.microsoft.com/office/drawing/2014/main" xmlns="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2" name="Freeform 198">
              <a:extLst>
                <a:ext uri="{FF2B5EF4-FFF2-40B4-BE49-F238E27FC236}">
                  <a16:creationId xmlns:a16="http://schemas.microsoft.com/office/drawing/2014/main" xmlns="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3" name="Freeform 199">
              <a:extLst>
                <a:ext uri="{FF2B5EF4-FFF2-40B4-BE49-F238E27FC236}">
                  <a16:creationId xmlns:a16="http://schemas.microsoft.com/office/drawing/2014/main" xmlns="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4" name="Freeform 200">
              <a:extLst>
                <a:ext uri="{FF2B5EF4-FFF2-40B4-BE49-F238E27FC236}">
                  <a16:creationId xmlns:a16="http://schemas.microsoft.com/office/drawing/2014/main" xmlns="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201">
              <a:extLst>
                <a:ext uri="{FF2B5EF4-FFF2-40B4-BE49-F238E27FC236}">
                  <a16:creationId xmlns:a16="http://schemas.microsoft.com/office/drawing/2014/main" xmlns="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6" name="Freeform 202">
              <a:extLst>
                <a:ext uri="{FF2B5EF4-FFF2-40B4-BE49-F238E27FC236}">
                  <a16:creationId xmlns:a16="http://schemas.microsoft.com/office/drawing/2014/main" xmlns="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7" name="Freeform 203">
              <a:extLst>
                <a:ext uri="{FF2B5EF4-FFF2-40B4-BE49-F238E27FC236}">
                  <a16:creationId xmlns:a16="http://schemas.microsoft.com/office/drawing/2014/main" xmlns="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8" name="Freeform 204">
              <a:extLst>
                <a:ext uri="{FF2B5EF4-FFF2-40B4-BE49-F238E27FC236}">
                  <a16:creationId xmlns:a16="http://schemas.microsoft.com/office/drawing/2014/main" xmlns="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9" name="Freeform 205">
              <a:extLst>
                <a:ext uri="{FF2B5EF4-FFF2-40B4-BE49-F238E27FC236}">
                  <a16:creationId xmlns:a16="http://schemas.microsoft.com/office/drawing/2014/main" xmlns="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0" name="Freeform 206">
              <a:extLst>
                <a:ext uri="{FF2B5EF4-FFF2-40B4-BE49-F238E27FC236}">
                  <a16:creationId xmlns:a16="http://schemas.microsoft.com/office/drawing/2014/main" xmlns="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1" name="Freeform 207">
              <a:extLst>
                <a:ext uri="{FF2B5EF4-FFF2-40B4-BE49-F238E27FC236}">
                  <a16:creationId xmlns:a16="http://schemas.microsoft.com/office/drawing/2014/main" xmlns="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2" name="Freeform 208">
              <a:extLst>
                <a:ext uri="{FF2B5EF4-FFF2-40B4-BE49-F238E27FC236}">
                  <a16:creationId xmlns:a16="http://schemas.microsoft.com/office/drawing/2014/main" xmlns="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209">
              <a:extLst>
                <a:ext uri="{FF2B5EF4-FFF2-40B4-BE49-F238E27FC236}">
                  <a16:creationId xmlns:a16="http://schemas.microsoft.com/office/drawing/2014/main" xmlns="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210">
              <a:extLst>
                <a:ext uri="{FF2B5EF4-FFF2-40B4-BE49-F238E27FC236}">
                  <a16:creationId xmlns:a16="http://schemas.microsoft.com/office/drawing/2014/main" xmlns="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11">
              <a:extLst>
                <a:ext uri="{FF2B5EF4-FFF2-40B4-BE49-F238E27FC236}">
                  <a16:creationId xmlns:a16="http://schemas.microsoft.com/office/drawing/2014/main" xmlns="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12">
              <a:extLst>
                <a:ext uri="{FF2B5EF4-FFF2-40B4-BE49-F238E27FC236}">
                  <a16:creationId xmlns:a16="http://schemas.microsoft.com/office/drawing/2014/main" xmlns="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13">
              <a:extLst>
                <a:ext uri="{FF2B5EF4-FFF2-40B4-BE49-F238E27FC236}">
                  <a16:creationId xmlns:a16="http://schemas.microsoft.com/office/drawing/2014/main" xmlns="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14">
              <a:extLst>
                <a:ext uri="{FF2B5EF4-FFF2-40B4-BE49-F238E27FC236}">
                  <a16:creationId xmlns:a16="http://schemas.microsoft.com/office/drawing/2014/main" xmlns="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15">
              <a:extLst>
                <a:ext uri="{FF2B5EF4-FFF2-40B4-BE49-F238E27FC236}">
                  <a16:creationId xmlns:a16="http://schemas.microsoft.com/office/drawing/2014/main" xmlns="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16">
              <a:extLst>
                <a:ext uri="{FF2B5EF4-FFF2-40B4-BE49-F238E27FC236}">
                  <a16:creationId xmlns:a16="http://schemas.microsoft.com/office/drawing/2014/main" xmlns="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17">
              <a:extLst>
                <a:ext uri="{FF2B5EF4-FFF2-40B4-BE49-F238E27FC236}">
                  <a16:creationId xmlns:a16="http://schemas.microsoft.com/office/drawing/2014/main" xmlns="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18">
              <a:extLst>
                <a:ext uri="{FF2B5EF4-FFF2-40B4-BE49-F238E27FC236}">
                  <a16:creationId xmlns:a16="http://schemas.microsoft.com/office/drawing/2014/main" xmlns="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19">
              <a:extLst>
                <a:ext uri="{FF2B5EF4-FFF2-40B4-BE49-F238E27FC236}">
                  <a16:creationId xmlns:a16="http://schemas.microsoft.com/office/drawing/2014/main" xmlns="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20">
              <a:extLst>
                <a:ext uri="{FF2B5EF4-FFF2-40B4-BE49-F238E27FC236}">
                  <a16:creationId xmlns:a16="http://schemas.microsoft.com/office/drawing/2014/main" xmlns="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Freeform 221">
              <a:extLst>
                <a:ext uri="{FF2B5EF4-FFF2-40B4-BE49-F238E27FC236}">
                  <a16:creationId xmlns:a16="http://schemas.microsoft.com/office/drawing/2014/main" xmlns="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Freeform 222">
              <a:extLst>
                <a:ext uri="{FF2B5EF4-FFF2-40B4-BE49-F238E27FC236}">
                  <a16:creationId xmlns:a16="http://schemas.microsoft.com/office/drawing/2014/main" xmlns="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Freeform 223">
              <a:extLst>
                <a:ext uri="{FF2B5EF4-FFF2-40B4-BE49-F238E27FC236}">
                  <a16:creationId xmlns:a16="http://schemas.microsoft.com/office/drawing/2014/main" xmlns="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Freeform 224">
              <a:extLst>
                <a:ext uri="{FF2B5EF4-FFF2-40B4-BE49-F238E27FC236}">
                  <a16:creationId xmlns:a16="http://schemas.microsoft.com/office/drawing/2014/main" xmlns="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Freeform 225">
              <a:extLst>
                <a:ext uri="{FF2B5EF4-FFF2-40B4-BE49-F238E27FC236}">
                  <a16:creationId xmlns:a16="http://schemas.microsoft.com/office/drawing/2014/main" xmlns="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Freeform 226">
              <a:extLst>
                <a:ext uri="{FF2B5EF4-FFF2-40B4-BE49-F238E27FC236}">
                  <a16:creationId xmlns:a16="http://schemas.microsoft.com/office/drawing/2014/main" xmlns="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227">
              <a:extLst>
                <a:ext uri="{FF2B5EF4-FFF2-40B4-BE49-F238E27FC236}">
                  <a16:creationId xmlns:a16="http://schemas.microsoft.com/office/drawing/2014/main" xmlns="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Freeform 228">
              <a:extLst>
                <a:ext uri="{FF2B5EF4-FFF2-40B4-BE49-F238E27FC236}">
                  <a16:creationId xmlns:a16="http://schemas.microsoft.com/office/drawing/2014/main" xmlns="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Freeform 229">
              <a:extLst>
                <a:ext uri="{FF2B5EF4-FFF2-40B4-BE49-F238E27FC236}">
                  <a16:creationId xmlns:a16="http://schemas.microsoft.com/office/drawing/2014/main" xmlns="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Freeform 230">
              <a:extLst>
                <a:ext uri="{FF2B5EF4-FFF2-40B4-BE49-F238E27FC236}">
                  <a16:creationId xmlns:a16="http://schemas.microsoft.com/office/drawing/2014/main" xmlns="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Freeform 231">
              <a:extLst>
                <a:ext uri="{FF2B5EF4-FFF2-40B4-BE49-F238E27FC236}">
                  <a16:creationId xmlns:a16="http://schemas.microsoft.com/office/drawing/2014/main" xmlns="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Freeform 232">
              <a:extLst>
                <a:ext uri="{FF2B5EF4-FFF2-40B4-BE49-F238E27FC236}">
                  <a16:creationId xmlns:a16="http://schemas.microsoft.com/office/drawing/2014/main" xmlns="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Freeform 233">
              <a:extLst>
                <a:ext uri="{FF2B5EF4-FFF2-40B4-BE49-F238E27FC236}">
                  <a16:creationId xmlns:a16="http://schemas.microsoft.com/office/drawing/2014/main" xmlns="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34">
              <a:extLst>
                <a:ext uri="{FF2B5EF4-FFF2-40B4-BE49-F238E27FC236}">
                  <a16:creationId xmlns:a16="http://schemas.microsoft.com/office/drawing/2014/main" xmlns="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35">
              <a:extLst>
                <a:ext uri="{FF2B5EF4-FFF2-40B4-BE49-F238E27FC236}">
                  <a16:creationId xmlns:a16="http://schemas.microsoft.com/office/drawing/2014/main" xmlns="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36">
              <a:extLst>
                <a:ext uri="{FF2B5EF4-FFF2-40B4-BE49-F238E27FC236}">
                  <a16:creationId xmlns:a16="http://schemas.microsoft.com/office/drawing/2014/main" xmlns="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37">
              <a:extLst>
                <a:ext uri="{FF2B5EF4-FFF2-40B4-BE49-F238E27FC236}">
                  <a16:creationId xmlns:a16="http://schemas.microsoft.com/office/drawing/2014/main" xmlns="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38">
              <a:extLst>
                <a:ext uri="{FF2B5EF4-FFF2-40B4-BE49-F238E27FC236}">
                  <a16:creationId xmlns:a16="http://schemas.microsoft.com/office/drawing/2014/main" xmlns="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39">
              <a:extLst>
                <a:ext uri="{FF2B5EF4-FFF2-40B4-BE49-F238E27FC236}">
                  <a16:creationId xmlns:a16="http://schemas.microsoft.com/office/drawing/2014/main" xmlns="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40">
              <a:extLst>
                <a:ext uri="{FF2B5EF4-FFF2-40B4-BE49-F238E27FC236}">
                  <a16:creationId xmlns:a16="http://schemas.microsoft.com/office/drawing/2014/main" xmlns="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41">
              <a:extLst>
                <a:ext uri="{FF2B5EF4-FFF2-40B4-BE49-F238E27FC236}">
                  <a16:creationId xmlns:a16="http://schemas.microsoft.com/office/drawing/2014/main" xmlns="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42">
              <a:extLst>
                <a:ext uri="{FF2B5EF4-FFF2-40B4-BE49-F238E27FC236}">
                  <a16:creationId xmlns:a16="http://schemas.microsoft.com/office/drawing/2014/main" xmlns="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43">
              <a:extLst>
                <a:ext uri="{FF2B5EF4-FFF2-40B4-BE49-F238E27FC236}">
                  <a16:creationId xmlns:a16="http://schemas.microsoft.com/office/drawing/2014/main" xmlns="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44">
              <a:extLst>
                <a:ext uri="{FF2B5EF4-FFF2-40B4-BE49-F238E27FC236}">
                  <a16:creationId xmlns:a16="http://schemas.microsoft.com/office/drawing/2014/main" xmlns="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45">
              <a:extLst>
                <a:ext uri="{FF2B5EF4-FFF2-40B4-BE49-F238E27FC236}">
                  <a16:creationId xmlns:a16="http://schemas.microsoft.com/office/drawing/2014/main" xmlns="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46">
              <a:extLst>
                <a:ext uri="{FF2B5EF4-FFF2-40B4-BE49-F238E27FC236}">
                  <a16:creationId xmlns:a16="http://schemas.microsoft.com/office/drawing/2014/main" xmlns="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47">
              <a:extLst>
                <a:ext uri="{FF2B5EF4-FFF2-40B4-BE49-F238E27FC236}">
                  <a16:creationId xmlns:a16="http://schemas.microsoft.com/office/drawing/2014/main" xmlns="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Freeform 248">
              <a:extLst>
                <a:ext uri="{FF2B5EF4-FFF2-40B4-BE49-F238E27FC236}">
                  <a16:creationId xmlns:a16="http://schemas.microsoft.com/office/drawing/2014/main" xmlns="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Freeform 249">
              <a:extLst>
                <a:ext uri="{FF2B5EF4-FFF2-40B4-BE49-F238E27FC236}">
                  <a16:creationId xmlns:a16="http://schemas.microsoft.com/office/drawing/2014/main" xmlns="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Freeform 250">
              <a:extLst>
                <a:ext uri="{FF2B5EF4-FFF2-40B4-BE49-F238E27FC236}">
                  <a16:creationId xmlns:a16="http://schemas.microsoft.com/office/drawing/2014/main" xmlns="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51">
              <a:extLst>
                <a:ext uri="{FF2B5EF4-FFF2-40B4-BE49-F238E27FC236}">
                  <a16:creationId xmlns:a16="http://schemas.microsoft.com/office/drawing/2014/main" xmlns="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52">
              <a:extLst>
                <a:ext uri="{FF2B5EF4-FFF2-40B4-BE49-F238E27FC236}">
                  <a16:creationId xmlns:a16="http://schemas.microsoft.com/office/drawing/2014/main" xmlns="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Freeform 253">
              <a:extLst>
                <a:ext uri="{FF2B5EF4-FFF2-40B4-BE49-F238E27FC236}">
                  <a16:creationId xmlns:a16="http://schemas.microsoft.com/office/drawing/2014/main" xmlns="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54">
              <a:extLst>
                <a:ext uri="{FF2B5EF4-FFF2-40B4-BE49-F238E27FC236}">
                  <a16:creationId xmlns:a16="http://schemas.microsoft.com/office/drawing/2014/main" xmlns="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55">
              <a:extLst>
                <a:ext uri="{FF2B5EF4-FFF2-40B4-BE49-F238E27FC236}">
                  <a16:creationId xmlns:a16="http://schemas.microsoft.com/office/drawing/2014/main" xmlns="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56">
              <a:extLst>
                <a:ext uri="{FF2B5EF4-FFF2-40B4-BE49-F238E27FC236}">
                  <a16:creationId xmlns:a16="http://schemas.microsoft.com/office/drawing/2014/main" xmlns="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57">
              <a:extLst>
                <a:ext uri="{FF2B5EF4-FFF2-40B4-BE49-F238E27FC236}">
                  <a16:creationId xmlns:a16="http://schemas.microsoft.com/office/drawing/2014/main" xmlns="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58">
              <a:extLst>
                <a:ext uri="{FF2B5EF4-FFF2-40B4-BE49-F238E27FC236}">
                  <a16:creationId xmlns:a16="http://schemas.microsoft.com/office/drawing/2014/main" xmlns="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59">
              <a:extLst>
                <a:ext uri="{FF2B5EF4-FFF2-40B4-BE49-F238E27FC236}">
                  <a16:creationId xmlns:a16="http://schemas.microsoft.com/office/drawing/2014/main" xmlns="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60">
              <a:extLst>
                <a:ext uri="{FF2B5EF4-FFF2-40B4-BE49-F238E27FC236}">
                  <a16:creationId xmlns:a16="http://schemas.microsoft.com/office/drawing/2014/main" xmlns="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61">
              <a:extLst>
                <a:ext uri="{FF2B5EF4-FFF2-40B4-BE49-F238E27FC236}">
                  <a16:creationId xmlns:a16="http://schemas.microsoft.com/office/drawing/2014/main" xmlns="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Freeform 262">
              <a:extLst>
                <a:ext uri="{FF2B5EF4-FFF2-40B4-BE49-F238E27FC236}">
                  <a16:creationId xmlns:a16="http://schemas.microsoft.com/office/drawing/2014/main" xmlns="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Freeform 263">
              <a:extLst>
                <a:ext uri="{FF2B5EF4-FFF2-40B4-BE49-F238E27FC236}">
                  <a16:creationId xmlns:a16="http://schemas.microsoft.com/office/drawing/2014/main" xmlns="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Freeform 264">
              <a:extLst>
                <a:ext uri="{FF2B5EF4-FFF2-40B4-BE49-F238E27FC236}">
                  <a16:creationId xmlns:a16="http://schemas.microsoft.com/office/drawing/2014/main" xmlns="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Freeform 265">
              <a:extLst>
                <a:ext uri="{FF2B5EF4-FFF2-40B4-BE49-F238E27FC236}">
                  <a16:creationId xmlns:a16="http://schemas.microsoft.com/office/drawing/2014/main" xmlns="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Freeform 266">
              <a:extLst>
                <a:ext uri="{FF2B5EF4-FFF2-40B4-BE49-F238E27FC236}">
                  <a16:creationId xmlns:a16="http://schemas.microsoft.com/office/drawing/2014/main" xmlns="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Freeform 267">
              <a:extLst>
                <a:ext uri="{FF2B5EF4-FFF2-40B4-BE49-F238E27FC236}">
                  <a16:creationId xmlns:a16="http://schemas.microsoft.com/office/drawing/2014/main" xmlns="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Freeform 268">
              <a:extLst>
                <a:ext uri="{FF2B5EF4-FFF2-40B4-BE49-F238E27FC236}">
                  <a16:creationId xmlns:a16="http://schemas.microsoft.com/office/drawing/2014/main" xmlns="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Freeform 269">
              <a:extLst>
                <a:ext uri="{FF2B5EF4-FFF2-40B4-BE49-F238E27FC236}">
                  <a16:creationId xmlns:a16="http://schemas.microsoft.com/office/drawing/2014/main" xmlns="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Freeform 270">
              <a:extLst>
                <a:ext uri="{FF2B5EF4-FFF2-40B4-BE49-F238E27FC236}">
                  <a16:creationId xmlns:a16="http://schemas.microsoft.com/office/drawing/2014/main" xmlns="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Freeform 271">
              <a:extLst>
                <a:ext uri="{FF2B5EF4-FFF2-40B4-BE49-F238E27FC236}">
                  <a16:creationId xmlns:a16="http://schemas.microsoft.com/office/drawing/2014/main" xmlns="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Freeform 272">
              <a:extLst>
                <a:ext uri="{FF2B5EF4-FFF2-40B4-BE49-F238E27FC236}">
                  <a16:creationId xmlns:a16="http://schemas.microsoft.com/office/drawing/2014/main" xmlns="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Freeform 273">
              <a:extLst>
                <a:ext uri="{FF2B5EF4-FFF2-40B4-BE49-F238E27FC236}">
                  <a16:creationId xmlns:a16="http://schemas.microsoft.com/office/drawing/2014/main" xmlns="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8" name="Freeform 274">
              <a:extLst>
                <a:ext uri="{FF2B5EF4-FFF2-40B4-BE49-F238E27FC236}">
                  <a16:creationId xmlns:a16="http://schemas.microsoft.com/office/drawing/2014/main" xmlns="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9" name="Freeform 275">
              <a:extLst>
                <a:ext uri="{FF2B5EF4-FFF2-40B4-BE49-F238E27FC236}">
                  <a16:creationId xmlns:a16="http://schemas.microsoft.com/office/drawing/2014/main" xmlns="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0" name="Freeform 276">
              <a:extLst>
                <a:ext uri="{FF2B5EF4-FFF2-40B4-BE49-F238E27FC236}">
                  <a16:creationId xmlns:a16="http://schemas.microsoft.com/office/drawing/2014/main" xmlns="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1" name="Freeform 277">
              <a:extLst>
                <a:ext uri="{FF2B5EF4-FFF2-40B4-BE49-F238E27FC236}">
                  <a16:creationId xmlns:a16="http://schemas.microsoft.com/office/drawing/2014/main" xmlns="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2" name="Freeform 278">
              <a:extLst>
                <a:ext uri="{FF2B5EF4-FFF2-40B4-BE49-F238E27FC236}">
                  <a16:creationId xmlns:a16="http://schemas.microsoft.com/office/drawing/2014/main" xmlns="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3" name="Freeform 279">
              <a:extLst>
                <a:ext uri="{FF2B5EF4-FFF2-40B4-BE49-F238E27FC236}">
                  <a16:creationId xmlns:a16="http://schemas.microsoft.com/office/drawing/2014/main" xmlns="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4" name="Freeform 280">
              <a:extLst>
                <a:ext uri="{FF2B5EF4-FFF2-40B4-BE49-F238E27FC236}">
                  <a16:creationId xmlns:a16="http://schemas.microsoft.com/office/drawing/2014/main" xmlns="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5" name="Freeform 281">
              <a:extLst>
                <a:ext uri="{FF2B5EF4-FFF2-40B4-BE49-F238E27FC236}">
                  <a16:creationId xmlns:a16="http://schemas.microsoft.com/office/drawing/2014/main" xmlns="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6" name="Freeform 282">
              <a:extLst>
                <a:ext uri="{FF2B5EF4-FFF2-40B4-BE49-F238E27FC236}">
                  <a16:creationId xmlns:a16="http://schemas.microsoft.com/office/drawing/2014/main" xmlns="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7" name="Freeform 283">
              <a:extLst>
                <a:ext uri="{FF2B5EF4-FFF2-40B4-BE49-F238E27FC236}">
                  <a16:creationId xmlns:a16="http://schemas.microsoft.com/office/drawing/2014/main" xmlns="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8" name="Freeform 284">
              <a:extLst>
                <a:ext uri="{FF2B5EF4-FFF2-40B4-BE49-F238E27FC236}">
                  <a16:creationId xmlns:a16="http://schemas.microsoft.com/office/drawing/2014/main" xmlns="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9" name="Freeform 285">
              <a:extLst>
                <a:ext uri="{FF2B5EF4-FFF2-40B4-BE49-F238E27FC236}">
                  <a16:creationId xmlns:a16="http://schemas.microsoft.com/office/drawing/2014/main" xmlns="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0" name="Freeform 286">
              <a:extLst>
                <a:ext uri="{FF2B5EF4-FFF2-40B4-BE49-F238E27FC236}">
                  <a16:creationId xmlns:a16="http://schemas.microsoft.com/office/drawing/2014/main" xmlns="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1" name="Freeform 287">
              <a:extLst>
                <a:ext uri="{FF2B5EF4-FFF2-40B4-BE49-F238E27FC236}">
                  <a16:creationId xmlns:a16="http://schemas.microsoft.com/office/drawing/2014/main" xmlns="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2" name="Freeform 288">
              <a:extLst>
                <a:ext uri="{FF2B5EF4-FFF2-40B4-BE49-F238E27FC236}">
                  <a16:creationId xmlns:a16="http://schemas.microsoft.com/office/drawing/2014/main" xmlns="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3" name="Freeform 289">
              <a:extLst>
                <a:ext uri="{FF2B5EF4-FFF2-40B4-BE49-F238E27FC236}">
                  <a16:creationId xmlns:a16="http://schemas.microsoft.com/office/drawing/2014/main" xmlns="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4" name="Freeform 290">
              <a:extLst>
                <a:ext uri="{FF2B5EF4-FFF2-40B4-BE49-F238E27FC236}">
                  <a16:creationId xmlns:a16="http://schemas.microsoft.com/office/drawing/2014/main" xmlns="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5" name="Freeform 291">
              <a:extLst>
                <a:ext uri="{FF2B5EF4-FFF2-40B4-BE49-F238E27FC236}">
                  <a16:creationId xmlns:a16="http://schemas.microsoft.com/office/drawing/2014/main" xmlns="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6" name="Freeform 292">
              <a:extLst>
                <a:ext uri="{FF2B5EF4-FFF2-40B4-BE49-F238E27FC236}">
                  <a16:creationId xmlns:a16="http://schemas.microsoft.com/office/drawing/2014/main" xmlns="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7" name="Freeform 293">
              <a:extLst>
                <a:ext uri="{FF2B5EF4-FFF2-40B4-BE49-F238E27FC236}">
                  <a16:creationId xmlns:a16="http://schemas.microsoft.com/office/drawing/2014/main" xmlns="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8" name="Freeform 294">
              <a:extLst>
                <a:ext uri="{FF2B5EF4-FFF2-40B4-BE49-F238E27FC236}">
                  <a16:creationId xmlns:a16="http://schemas.microsoft.com/office/drawing/2014/main" xmlns="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9" name="Freeform 295">
              <a:extLst>
                <a:ext uri="{FF2B5EF4-FFF2-40B4-BE49-F238E27FC236}">
                  <a16:creationId xmlns:a16="http://schemas.microsoft.com/office/drawing/2014/main" xmlns="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0" name="Freeform 296">
              <a:extLst>
                <a:ext uri="{FF2B5EF4-FFF2-40B4-BE49-F238E27FC236}">
                  <a16:creationId xmlns:a16="http://schemas.microsoft.com/office/drawing/2014/main" xmlns="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1" name="Freeform 297">
              <a:extLst>
                <a:ext uri="{FF2B5EF4-FFF2-40B4-BE49-F238E27FC236}">
                  <a16:creationId xmlns:a16="http://schemas.microsoft.com/office/drawing/2014/main" xmlns="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2" name="Freeform 298">
              <a:extLst>
                <a:ext uri="{FF2B5EF4-FFF2-40B4-BE49-F238E27FC236}">
                  <a16:creationId xmlns:a16="http://schemas.microsoft.com/office/drawing/2014/main" xmlns="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3" name="Freeform 299">
              <a:extLst>
                <a:ext uri="{FF2B5EF4-FFF2-40B4-BE49-F238E27FC236}">
                  <a16:creationId xmlns:a16="http://schemas.microsoft.com/office/drawing/2014/main" xmlns="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4" name="Freeform 300">
              <a:extLst>
                <a:ext uri="{FF2B5EF4-FFF2-40B4-BE49-F238E27FC236}">
                  <a16:creationId xmlns:a16="http://schemas.microsoft.com/office/drawing/2014/main" xmlns="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5" name="Freeform 301">
              <a:extLst>
                <a:ext uri="{FF2B5EF4-FFF2-40B4-BE49-F238E27FC236}">
                  <a16:creationId xmlns:a16="http://schemas.microsoft.com/office/drawing/2014/main" xmlns="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6" name="Freeform 302">
              <a:extLst>
                <a:ext uri="{FF2B5EF4-FFF2-40B4-BE49-F238E27FC236}">
                  <a16:creationId xmlns:a16="http://schemas.microsoft.com/office/drawing/2014/main" xmlns="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7" name="Freeform 303">
              <a:extLst>
                <a:ext uri="{FF2B5EF4-FFF2-40B4-BE49-F238E27FC236}">
                  <a16:creationId xmlns:a16="http://schemas.microsoft.com/office/drawing/2014/main" xmlns="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8" name="Freeform 304">
              <a:extLst>
                <a:ext uri="{FF2B5EF4-FFF2-40B4-BE49-F238E27FC236}">
                  <a16:creationId xmlns:a16="http://schemas.microsoft.com/office/drawing/2014/main" xmlns="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9" name="Freeform 305">
              <a:extLst>
                <a:ext uri="{FF2B5EF4-FFF2-40B4-BE49-F238E27FC236}">
                  <a16:creationId xmlns:a16="http://schemas.microsoft.com/office/drawing/2014/main" xmlns="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0" name="Freeform 306">
              <a:extLst>
                <a:ext uri="{FF2B5EF4-FFF2-40B4-BE49-F238E27FC236}">
                  <a16:creationId xmlns:a16="http://schemas.microsoft.com/office/drawing/2014/main" xmlns="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1" name="Freeform 307">
              <a:extLst>
                <a:ext uri="{FF2B5EF4-FFF2-40B4-BE49-F238E27FC236}">
                  <a16:creationId xmlns:a16="http://schemas.microsoft.com/office/drawing/2014/main" xmlns="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2" name="Freeform 308">
              <a:extLst>
                <a:ext uri="{FF2B5EF4-FFF2-40B4-BE49-F238E27FC236}">
                  <a16:creationId xmlns:a16="http://schemas.microsoft.com/office/drawing/2014/main" xmlns="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3" name="Freeform 309">
              <a:extLst>
                <a:ext uri="{FF2B5EF4-FFF2-40B4-BE49-F238E27FC236}">
                  <a16:creationId xmlns:a16="http://schemas.microsoft.com/office/drawing/2014/main" xmlns="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4" name="Freeform 310">
              <a:extLst>
                <a:ext uri="{FF2B5EF4-FFF2-40B4-BE49-F238E27FC236}">
                  <a16:creationId xmlns:a16="http://schemas.microsoft.com/office/drawing/2014/main" xmlns="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5" name="Freeform 311">
              <a:extLst>
                <a:ext uri="{FF2B5EF4-FFF2-40B4-BE49-F238E27FC236}">
                  <a16:creationId xmlns:a16="http://schemas.microsoft.com/office/drawing/2014/main" xmlns="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85000"/>
                  <a:lumOff val="15000"/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472" y="1572449"/>
            <a:ext cx="6858000" cy="1790700"/>
          </a:xfrm>
        </p:spPr>
        <p:txBody>
          <a:bodyPr anchor="b">
            <a:normAutofit/>
          </a:bodyPr>
          <a:lstStyle>
            <a:lvl1pPr marL="0" indent="0" algn="l">
              <a:defRPr sz="3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xmlns="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472" y="3363248"/>
            <a:ext cx="6858000" cy="354744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bg2">
                    <a:lumMod val="60000"/>
                    <a:lumOff val="40000"/>
                  </a:schemeClr>
                </a:solidFill>
                <a:latin typeface="Arial Narrow" panose="020B0606020202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8" name="Рисунок 167">
            <a:extLst>
              <a:ext uri="{FF2B5EF4-FFF2-40B4-BE49-F238E27FC236}">
                <a16:creationId xmlns:a16="http://schemas.microsoft.com/office/drawing/2014/main" xmlns="" id="{FD1334CD-2999-49C9-BEDF-AC0CF4428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b="21786"/>
          <a:stretch/>
        </p:blipFill>
        <p:spPr>
          <a:xfrm>
            <a:off x="8258375" y="251373"/>
            <a:ext cx="613703" cy="55459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7370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 картой"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59">
            <a:extLst>
              <a:ext uri="{FF2B5EF4-FFF2-40B4-BE49-F238E27FC236}">
                <a16:creationId xmlns:a16="http://schemas.microsoft.com/office/drawing/2014/main" xmlns="" id="{38F65CCA-188E-4268-9F0F-BDF790E1FEF7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312289" y="406154"/>
            <a:ext cx="8474480" cy="4394462"/>
            <a:chOff x="363" y="356"/>
            <a:chExt cx="6954" cy="3606"/>
          </a:xfrm>
          <a:solidFill>
            <a:schemeClr val="bg1"/>
          </a:solidFill>
        </p:grpSpPr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xmlns="" id="{4F7B6648-59AD-40E9-B3BB-1E457C8E1D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161">
              <a:extLst>
                <a:ext uri="{FF2B5EF4-FFF2-40B4-BE49-F238E27FC236}">
                  <a16:creationId xmlns:a16="http://schemas.microsoft.com/office/drawing/2014/main" xmlns="" id="{F471A5BD-C0BD-4640-ABC4-120DE69851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62">
              <a:extLst>
                <a:ext uri="{FF2B5EF4-FFF2-40B4-BE49-F238E27FC236}">
                  <a16:creationId xmlns:a16="http://schemas.microsoft.com/office/drawing/2014/main" xmlns="" id="{1ABB5A69-E14E-4F8C-B114-DD615A841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163">
              <a:extLst>
                <a:ext uri="{FF2B5EF4-FFF2-40B4-BE49-F238E27FC236}">
                  <a16:creationId xmlns:a16="http://schemas.microsoft.com/office/drawing/2014/main" xmlns="" id="{8CE7005E-07B0-4F9F-97F5-F93499EE17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64">
              <a:extLst>
                <a:ext uri="{FF2B5EF4-FFF2-40B4-BE49-F238E27FC236}">
                  <a16:creationId xmlns:a16="http://schemas.microsoft.com/office/drawing/2014/main" xmlns="" id="{9924739A-0DE1-4510-8CE6-3EFB368FE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65">
              <a:extLst>
                <a:ext uri="{FF2B5EF4-FFF2-40B4-BE49-F238E27FC236}">
                  <a16:creationId xmlns:a16="http://schemas.microsoft.com/office/drawing/2014/main" xmlns="" id="{9A5B10E1-D964-4BCE-9815-91334C484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66">
              <a:extLst>
                <a:ext uri="{FF2B5EF4-FFF2-40B4-BE49-F238E27FC236}">
                  <a16:creationId xmlns:a16="http://schemas.microsoft.com/office/drawing/2014/main" xmlns="" id="{1B6B8966-C8D5-41BD-8EB5-C5EAA6B4F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67">
              <a:extLst>
                <a:ext uri="{FF2B5EF4-FFF2-40B4-BE49-F238E27FC236}">
                  <a16:creationId xmlns:a16="http://schemas.microsoft.com/office/drawing/2014/main" xmlns="" id="{EB3FE5E4-888C-4B3C-980D-FE7E29658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68">
              <a:extLst>
                <a:ext uri="{FF2B5EF4-FFF2-40B4-BE49-F238E27FC236}">
                  <a16:creationId xmlns:a16="http://schemas.microsoft.com/office/drawing/2014/main" xmlns="" id="{0C1674D4-33F9-433E-92A8-BB1EF0DBE9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69">
              <a:extLst>
                <a:ext uri="{FF2B5EF4-FFF2-40B4-BE49-F238E27FC236}">
                  <a16:creationId xmlns:a16="http://schemas.microsoft.com/office/drawing/2014/main" xmlns="" id="{97E45A19-351A-4234-BB29-91773C48C4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70">
              <a:extLst>
                <a:ext uri="{FF2B5EF4-FFF2-40B4-BE49-F238E27FC236}">
                  <a16:creationId xmlns:a16="http://schemas.microsoft.com/office/drawing/2014/main" xmlns="" id="{6F04563E-FF26-4062-8D9B-838AD3F8B1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1">
              <a:extLst>
                <a:ext uri="{FF2B5EF4-FFF2-40B4-BE49-F238E27FC236}">
                  <a16:creationId xmlns:a16="http://schemas.microsoft.com/office/drawing/2014/main" xmlns="" id="{9EB03DF0-518D-43FC-90B5-8FB6934D9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2">
              <a:extLst>
                <a:ext uri="{FF2B5EF4-FFF2-40B4-BE49-F238E27FC236}">
                  <a16:creationId xmlns:a16="http://schemas.microsoft.com/office/drawing/2014/main" xmlns="" id="{EDE6B47A-E00A-49C9-A584-75319E5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73">
              <a:extLst>
                <a:ext uri="{FF2B5EF4-FFF2-40B4-BE49-F238E27FC236}">
                  <a16:creationId xmlns:a16="http://schemas.microsoft.com/office/drawing/2014/main" xmlns="" id="{1012FE3C-3B88-435F-92DA-063B13C829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74">
              <a:extLst>
                <a:ext uri="{FF2B5EF4-FFF2-40B4-BE49-F238E27FC236}">
                  <a16:creationId xmlns:a16="http://schemas.microsoft.com/office/drawing/2014/main" xmlns="" id="{E0A9A6F1-6302-4AA5-BCAA-C80576271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9" name="Freeform 175">
              <a:extLst>
                <a:ext uri="{FF2B5EF4-FFF2-40B4-BE49-F238E27FC236}">
                  <a16:creationId xmlns:a16="http://schemas.microsoft.com/office/drawing/2014/main" xmlns="" id="{FB14BE3D-BC01-4318-9C16-5F645B10AB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176">
              <a:extLst>
                <a:ext uri="{FF2B5EF4-FFF2-40B4-BE49-F238E27FC236}">
                  <a16:creationId xmlns:a16="http://schemas.microsoft.com/office/drawing/2014/main" xmlns="" id="{951429DE-877F-4133-8CD7-A22683060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177">
              <a:extLst>
                <a:ext uri="{FF2B5EF4-FFF2-40B4-BE49-F238E27FC236}">
                  <a16:creationId xmlns:a16="http://schemas.microsoft.com/office/drawing/2014/main" xmlns="" id="{76D7EA7E-D1A1-47AF-81F0-BB0FD5A71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2" name="Freeform 178">
              <a:extLst>
                <a:ext uri="{FF2B5EF4-FFF2-40B4-BE49-F238E27FC236}">
                  <a16:creationId xmlns:a16="http://schemas.microsoft.com/office/drawing/2014/main" xmlns="" id="{94509CD3-D8B9-4F6A-BF83-E1E00C160C6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3" name="Freeform 179">
              <a:extLst>
                <a:ext uri="{FF2B5EF4-FFF2-40B4-BE49-F238E27FC236}">
                  <a16:creationId xmlns:a16="http://schemas.microsoft.com/office/drawing/2014/main" xmlns="" id="{B86EC6A6-F761-4048-84A2-2C447A104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4" name="Freeform 180">
              <a:extLst>
                <a:ext uri="{FF2B5EF4-FFF2-40B4-BE49-F238E27FC236}">
                  <a16:creationId xmlns:a16="http://schemas.microsoft.com/office/drawing/2014/main" xmlns="" id="{EE9E3D6E-3EB0-4D81-94D2-40675B643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5" name="Freeform 181">
              <a:extLst>
                <a:ext uri="{FF2B5EF4-FFF2-40B4-BE49-F238E27FC236}">
                  <a16:creationId xmlns:a16="http://schemas.microsoft.com/office/drawing/2014/main" xmlns="" id="{2D4AA3A7-61EF-4AC1-B909-B6BA2C461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182">
              <a:extLst>
                <a:ext uri="{FF2B5EF4-FFF2-40B4-BE49-F238E27FC236}">
                  <a16:creationId xmlns:a16="http://schemas.microsoft.com/office/drawing/2014/main" xmlns="" id="{8EB336BD-5A1B-475D-8909-675F84ECEC9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183">
              <a:extLst>
                <a:ext uri="{FF2B5EF4-FFF2-40B4-BE49-F238E27FC236}">
                  <a16:creationId xmlns:a16="http://schemas.microsoft.com/office/drawing/2014/main" xmlns="" id="{1DED9D41-5273-4B31-87A6-DDA49BD92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184">
              <a:extLst>
                <a:ext uri="{FF2B5EF4-FFF2-40B4-BE49-F238E27FC236}">
                  <a16:creationId xmlns:a16="http://schemas.microsoft.com/office/drawing/2014/main" xmlns="" id="{447AEB00-E08C-4940-AAB1-5D4AFC29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185">
              <a:extLst>
                <a:ext uri="{FF2B5EF4-FFF2-40B4-BE49-F238E27FC236}">
                  <a16:creationId xmlns:a16="http://schemas.microsoft.com/office/drawing/2014/main" xmlns="" id="{734197A8-A78E-41DA-BECD-442D5805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186">
              <a:extLst>
                <a:ext uri="{FF2B5EF4-FFF2-40B4-BE49-F238E27FC236}">
                  <a16:creationId xmlns:a16="http://schemas.microsoft.com/office/drawing/2014/main" xmlns="" id="{5B101A6F-4963-4467-AB4E-45F2A2E94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187">
              <a:extLst>
                <a:ext uri="{FF2B5EF4-FFF2-40B4-BE49-F238E27FC236}">
                  <a16:creationId xmlns:a16="http://schemas.microsoft.com/office/drawing/2014/main" xmlns="" id="{7490EF5A-EAFD-4076-A9CA-EC0A6968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2" name="Freeform 188">
              <a:extLst>
                <a:ext uri="{FF2B5EF4-FFF2-40B4-BE49-F238E27FC236}">
                  <a16:creationId xmlns:a16="http://schemas.microsoft.com/office/drawing/2014/main" xmlns="" id="{3A21E4AF-73B3-44C8-8615-C25AFE666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189">
              <a:extLst>
                <a:ext uri="{FF2B5EF4-FFF2-40B4-BE49-F238E27FC236}">
                  <a16:creationId xmlns:a16="http://schemas.microsoft.com/office/drawing/2014/main" xmlns="" id="{954BEDF1-8703-4007-A1F2-06FF03A7D4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190">
              <a:extLst>
                <a:ext uri="{FF2B5EF4-FFF2-40B4-BE49-F238E27FC236}">
                  <a16:creationId xmlns:a16="http://schemas.microsoft.com/office/drawing/2014/main" xmlns="" id="{E4FC49E2-12A4-4885-851B-37436F5C0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191">
              <a:extLst>
                <a:ext uri="{FF2B5EF4-FFF2-40B4-BE49-F238E27FC236}">
                  <a16:creationId xmlns:a16="http://schemas.microsoft.com/office/drawing/2014/main" xmlns="" id="{0F119665-77C4-4B6B-B85C-7B5EF172AA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Freeform 192">
              <a:extLst>
                <a:ext uri="{FF2B5EF4-FFF2-40B4-BE49-F238E27FC236}">
                  <a16:creationId xmlns:a16="http://schemas.microsoft.com/office/drawing/2014/main" xmlns="" id="{5F95DC6C-5560-4E8F-954C-B91E877180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Freeform 193">
              <a:extLst>
                <a:ext uri="{FF2B5EF4-FFF2-40B4-BE49-F238E27FC236}">
                  <a16:creationId xmlns:a16="http://schemas.microsoft.com/office/drawing/2014/main" xmlns="" id="{3831CE84-23BC-4884-BAD7-DE277F4B7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8" name="Freeform 194">
              <a:extLst>
                <a:ext uri="{FF2B5EF4-FFF2-40B4-BE49-F238E27FC236}">
                  <a16:creationId xmlns:a16="http://schemas.microsoft.com/office/drawing/2014/main" xmlns="" id="{18B016DF-E523-445B-8098-813132CFA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195">
              <a:extLst>
                <a:ext uri="{FF2B5EF4-FFF2-40B4-BE49-F238E27FC236}">
                  <a16:creationId xmlns:a16="http://schemas.microsoft.com/office/drawing/2014/main" xmlns="" id="{F16B998C-42AE-41BF-8C15-F1FD59797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Freeform 196">
              <a:extLst>
                <a:ext uri="{FF2B5EF4-FFF2-40B4-BE49-F238E27FC236}">
                  <a16:creationId xmlns:a16="http://schemas.microsoft.com/office/drawing/2014/main" xmlns="" id="{66A4C308-65F9-4136-A1AF-13404FA8FA94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1" name="Freeform 197">
              <a:extLst>
                <a:ext uri="{FF2B5EF4-FFF2-40B4-BE49-F238E27FC236}">
                  <a16:creationId xmlns:a16="http://schemas.microsoft.com/office/drawing/2014/main" xmlns="" id="{6AC73767-F872-4DF2-BA15-E5B201AD2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2" name="Freeform 198">
              <a:extLst>
                <a:ext uri="{FF2B5EF4-FFF2-40B4-BE49-F238E27FC236}">
                  <a16:creationId xmlns:a16="http://schemas.microsoft.com/office/drawing/2014/main" xmlns="" id="{1363A4AA-CF1B-426F-AAA3-539B568B6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3" name="Freeform 199">
              <a:extLst>
                <a:ext uri="{FF2B5EF4-FFF2-40B4-BE49-F238E27FC236}">
                  <a16:creationId xmlns:a16="http://schemas.microsoft.com/office/drawing/2014/main" xmlns="" id="{8514E3BC-CB5E-44D9-844A-329C0BF12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4" name="Freeform 200">
              <a:extLst>
                <a:ext uri="{FF2B5EF4-FFF2-40B4-BE49-F238E27FC236}">
                  <a16:creationId xmlns:a16="http://schemas.microsoft.com/office/drawing/2014/main" xmlns="" id="{E10AFCA5-E053-4F53-8790-B3CB8FEE29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201">
              <a:extLst>
                <a:ext uri="{FF2B5EF4-FFF2-40B4-BE49-F238E27FC236}">
                  <a16:creationId xmlns:a16="http://schemas.microsoft.com/office/drawing/2014/main" xmlns="" id="{B8624FAA-A95E-4C2F-9FF0-5C732B1EC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6" name="Freeform 202">
              <a:extLst>
                <a:ext uri="{FF2B5EF4-FFF2-40B4-BE49-F238E27FC236}">
                  <a16:creationId xmlns:a16="http://schemas.microsoft.com/office/drawing/2014/main" xmlns="" id="{69DA8AC1-904C-4354-A3B8-3F6D7AA3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7" name="Freeform 203">
              <a:extLst>
                <a:ext uri="{FF2B5EF4-FFF2-40B4-BE49-F238E27FC236}">
                  <a16:creationId xmlns:a16="http://schemas.microsoft.com/office/drawing/2014/main" xmlns="" id="{467537F2-EE31-40B7-BC4D-CA42DDC3C3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8" name="Freeform 204">
              <a:extLst>
                <a:ext uri="{FF2B5EF4-FFF2-40B4-BE49-F238E27FC236}">
                  <a16:creationId xmlns:a16="http://schemas.microsoft.com/office/drawing/2014/main" xmlns="" id="{0A4C9A10-DAE3-48C7-B72A-3A21553D5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9" name="Freeform 205">
              <a:extLst>
                <a:ext uri="{FF2B5EF4-FFF2-40B4-BE49-F238E27FC236}">
                  <a16:creationId xmlns:a16="http://schemas.microsoft.com/office/drawing/2014/main" xmlns="" id="{84CD7D3B-BABA-40EF-80E7-9E4F81DE1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0" name="Freeform 206">
              <a:extLst>
                <a:ext uri="{FF2B5EF4-FFF2-40B4-BE49-F238E27FC236}">
                  <a16:creationId xmlns:a16="http://schemas.microsoft.com/office/drawing/2014/main" xmlns="" id="{50C9F9C8-DFBA-422E-BEA1-BA935CCEC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1" name="Freeform 207">
              <a:extLst>
                <a:ext uri="{FF2B5EF4-FFF2-40B4-BE49-F238E27FC236}">
                  <a16:creationId xmlns:a16="http://schemas.microsoft.com/office/drawing/2014/main" xmlns="" id="{AA8F1DCF-AE2E-44B9-B115-D6345F99B4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2" name="Freeform 208">
              <a:extLst>
                <a:ext uri="{FF2B5EF4-FFF2-40B4-BE49-F238E27FC236}">
                  <a16:creationId xmlns:a16="http://schemas.microsoft.com/office/drawing/2014/main" xmlns="" id="{E2733877-E998-4217-A1B7-8803092D18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209">
              <a:extLst>
                <a:ext uri="{FF2B5EF4-FFF2-40B4-BE49-F238E27FC236}">
                  <a16:creationId xmlns:a16="http://schemas.microsoft.com/office/drawing/2014/main" xmlns="" id="{55429115-0EB4-4E56-AFE7-77A334E5A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210">
              <a:extLst>
                <a:ext uri="{FF2B5EF4-FFF2-40B4-BE49-F238E27FC236}">
                  <a16:creationId xmlns:a16="http://schemas.microsoft.com/office/drawing/2014/main" xmlns="" id="{C9482541-0106-4566-806B-ED390D49B9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11">
              <a:extLst>
                <a:ext uri="{FF2B5EF4-FFF2-40B4-BE49-F238E27FC236}">
                  <a16:creationId xmlns:a16="http://schemas.microsoft.com/office/drawing/2014/main" xmlns="" id="{FD7919CF-3E9E-4695-BCEA-839987DCF1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12">
              <a:extLst>
                <a:ext uri="{FF2B5EF4-FFF2-40B4-BE49-F238E27FC236}">
                  <a16:creationId xmlns:a16="http://schemas.microsoft.com/office/drawing/2014/main" xmlns="" id="{8344212B-CCBF-40DB-8F92-2FAA84AFC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13">
              <a:extLst>
                <a:ext uri="{FF2B5EF4-FFF2-40B4-BE49-F238E27FC236}">
                  <a16:creationId xmlns:a16="http://schemas.microsoft.com/office/drawing/2014/main" xmlns="" id="{E746467E-D487-4E40-A34D-690220CE5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14">
              <a:extLst>
                <a:ext uri="{FF2B5EF4-FFF2-40B4-BE49-F238E27FC236}">
                  <a16:creationId xmlns:a16="http://schemas.microsoft.com/office/drawing/2014/main" xmlns="" id="{68ABCED3-7A6C-4284-A9E7-46F5631848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15">
              <a:extLst>
                <a:ext uri="{FF2B5EF4-FFF2-40B4-BE49-F238E27FC236}">
                  <a16:creationId xmlns:a16="http://schemas.microsoft.com/office/drawing/2014/main" xmlns="" id="{31CE0117-7D65-445A-8FF0-A8F02C734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16">
              <a:extLst>
                <a:ext uri="{FF2B5EF4-FFF2-40B4-BE49-F238E27FC236}">
                  <a16:creationId xmlns:a16="http://schemas.microsoft.com/office/drawing/2014/main" xmlns="" id="{AB66F450-B703-4F3C-BB60-265B2F59C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17">
              <a:extLst>
                <a:ext uri="{FF2B5EF4-FFF2-40B4-BE49-F238E27FC236}">
                  <a16:creationId xmlns:a16="http://schemas.microsoft.com/office/drawing/2014/main" xmlns="" id="{7297D734-52F5-4C49-ADF2-77976ED6D2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18">
              <a:extLst>
                <a:ext uri="{FF2B5EF4-FFF2-40B4-BE49-F238E27FC236}">
                  <a16:creationId xmlns:a16="http://schemas.microsoft.com/office/drawing/2014/main" xmlns="" id="{5AA6ED3F-2D00-4A0E-BD01-4D967C52E1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19">
              <a:extLst>
                <a:ext uri="{FF2B5EF4-FFF2-40B4-BE49-F238E27FC236}">
                  <a16:creationId xmlns:a16="http://schemas.microsoft.com/office/drawing/2014/main" xmlns="" id="{EBF5077D-35A6-4459-AB05-0FEBF269B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20">
              <a:extLst>
                <a:ext uri="{FF2B5EF4-FFF2-40B4-BE49-F238E27FC236}">
                  <a16:creationId xmlns:a16="http://schemas.microsoft.com/office/drawing/2014/main" xmlns="" id="{D6D9E27D-8780-4459-B5D7-D6FD6F3CD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Freeform 221">
              <a:extLst>
                <a:ext uri="{FF2B5EF4-FFF2-40B4-BE49-F238E27FC236}">
                  <a16:creationId xmlns:a16="http://schemas.microsoft.com/office/drawing/2014/main" xmlns="" id="{478997FC-03BD-4715-92D4-DAA95FFE1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Freeform 222">
              <a:extLst>
                <a:ext uri="{FF2B5EF4-FFF2-40B4-BE49-F238E27FC236}">
                  <a16:creationId xmlns:a16="http://schemas.microsoft.com/office/drawing/2014/main" xmlns="" id="{C53BBF5E-B3DA-45FA-9478-01E0D245D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Freeform 223">
              <a:extLst>
                <a:ext uri="{FF2B5EF4-FFF2-40B4-BE49-F238E27FC236}">
                  <a16:creationId xmlns:a16="http://schemas.microsoft.com/office/drawing/2014/main" xmlns="" id="{3D778AAF-4026-4737-AB31-E2F6F271F4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Freeform 224">
              <a:extLst>
                <a:ext uri="{FF2B5EF4-FFF2-40B4-BE49-F238E27FC236}">
                  <a16:creationId xmlns:a16="http://schemas.microsoft.com/office/drawing/2014/main" xmlns="" id="{B12467B8-4E2F-4E68-8A3C-8696BC029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Freeform 225">
              <a:extLst>
                <a:ext uri="{FF2B5EF4-FFF2-40B4-BE49-F238E27FC236}">
                  <a16:creationId xmlns:a16="http://schemas.microsoft.com/office/drawing/2014/main" xmlns="" id="{AD1FA88E-E6F2-423B-BD59-685E7C406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Freeform 226">
              <a:extLst>
                <a:ext uri="{FF2B5EF4-FFF2-40B4-BE49-F238E27FC236}">
                  <a16:creationId xmlns:a16="http://schemas.microsoft.com/office/drawing/2014/main" xmlns="" id="{6CCC1D94-6A57-44F3-903E-4C2291AAB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227">
              <a:extLst>
                <a:ext uri="{FF2B5EF4-FFF2-40B4-BE49-F238E27FC236}">
                  <a16:creationId xmlns:a16="http://schemas.microsoft.com/office/drawing/2014/main" xmlns="" id="{E3909A7D-AB80-4BB5-9AF8-72C7ACA25B1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Freeform 228">
              <a:extLst>
                <a:ext uri="{FF2B5EF4-FFF2-40B4-BE49-F238E27FC236}">
                  <a16:creationId xmlns:a16="http://schemas.microsoft.com/office/drawing/2014/main" xmlns="" id="{0701495A-D567-47CE-8BDF-D3C0C0C12CA6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Freeform 229">
              <a:extLst>
                <a:ext uri="{FF2B5EF4-FFF2-40B4-BE49-F238E27FC236}">
                  <a16:creationId xmlns:a16="http://schemas.microsoft.com/office/drawing/2014/main" xmlns="" id="{17ABF4A6-5CE7-47D4-8F64-F6B1C436072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Freeform 230">
              <a:extLst>
                <a:ext uri="{FF2B5EF4-FFF2-40B4-BE49-F238E27FC236}">
                  <a16:creationId xmlns:a16="http://schemas.microsoft.com/office/drawing/2014/main" xmlns="" id="{0DE46783-ABD9-4B71-A154-1483AD6BA1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Freeform 231">
              <a:extLst>
                <a:ext uri="{FF2B5EF4-FFF2-40B4-BE49-F238E27FC236}">
                  <a16:creationId xmlns:a16="http://schemas.microsoft.com/office/drawing/2014/main" xmlns="" id="{2CA0C800-CFA2-499B-87C2-8DAEB7B9A49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Freeform 232">
              <a:extLst>
                <a:ext uri="{FF2B5EF4-FFF2-40B4-BE49-F238E27FC236}">
                  <a16:creationId xmlns:a16="http://schemas.microsoft.com/office/drawing/2014/main" xmlns="" id="{BC4DA4B1-B17B-471E-AA2E-8CEF3A2F5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Freeform 233">
              <a:extLst>
                <a:ext uri="{FF2B5EF4-FFF2-40B4-BE49-F238E27FC236}">
                  <a16:creationId xmlns:a16="http://schemas.microsoft.com/office/drawing/2014/main" xmlns="" id="{AFA2BEEB-2281-4013-AA37-B30EC514F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34">
              <a:extLst>
                <a:ext uri="{FF2B5EF4-FFF2-40B4-BE49-F238E27FC236}">
                  <a16:creationId xmlns:a16="http://schemas.microsoft.com/office/drawing/2014/main" xmlns="" id="{5C720565-AD79-4B18-8F35-1C842F9A17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35">
              <a:extLst>
                <a:ext uri="{FF2B5EF4-FFF2-40B4-BE49-F238E27FC236}">
                  <a16:creationId xmlns:a16="http://schemas.microsoft.com/office/drawing/2014/main" xmlns="" id="{F598E65E-E741-46B9-9BE3-A32382BD9DB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36">
              <a:extLst>
                <a:ext uri="{FF2B5EF4-FFF2-40B4-BE49-F238E27FC236}">
                  <a16:creationId xmlns:a16="http://schemas.microsoft.com/office/drawing/2014/main" xmlns="" id="{94508580-2874-4914-8E69-7EF2A3AE8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37">
              <a:extLst>
                <a:ext uri="{FF2B5EF4-FFF2-40B4-BE49-F238E27FC236}">
                  <a16:creationId xmlns:a16="http://schemas.microsoft.com/office/drawing/2014/main" xmlns="" id="{54BF7B41-3E0C-4B23-B4A2-B6CC87C6EE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38">
              <a:extLst>
                <a:ext uri="{FF2B5EF4-FFF2-40B4-BE49-F238E27FC236}">
                  <a16:creationId xmlns:a16="http://schemas.microsoft.com/office/drawing/2014/main" xmlns="" id="{AFC42239-5D81-48B5-872B-AFAC9B01D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39">
              <a:extLst>
                <a:ext uri="{FF2B5EF4-FFF2-40B4-BE49-F238E27FC236}">
                  <a16:creationId xmlns:a16="http://schemas.microsoft.com/office/drawing/2014/main" xmlns="" id="{DE65C41F-A1C6-4131-8893-42911920B5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40">
              <a:extLst>
                <a:ext uri="{FF2B5EF4-FFF2-40B4-BE49-F238E27FC236}">
                  <a16:creationId xmlns:a16="http://schemas.microsoft.com/office/drawing/2014/main" xmlns="" id="{C662B8B0-BF6E-463A-AE8A-67CA6BC0B8F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41">
              <a:extLst>
                <a:ext uri="{FF2B5EF4-FFF2-40B4-BE49-F238E27FC236}">
                  <a16:creationId xmlns:a16="http://schemas.microsoft.com/office/drawing/2014/main" xmlns="" id="{384B1B45-2B16-4031-95F9-5769682B6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42">
              <a:extLst>
                <a:ext uri="{FF2B5EF4-FFF2-40B4-BE49-F238E27FC236}">
                  <a16:creationId xmlns:a16="http://schemas.microsoft.com/office/drawing/2014/main" xmlns="" id="{2D119323-56D3-4CBD-8A5E-D9A25ECED6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43">
              <a:extLst>
                <a:ext uri="{FF2B5EF4-FFF2-40B4-BE49-F238E27FC236}">
                  <a16:creationId xmlns:a16="http://schemas.microsoft.com/office/drawing/2014/main" xmlns="" id="{0B40E7B8-51DF-4B6E-8723-7A54193B9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44">
              <a:extLst>
                <a:ext uri="{FF2B5EF4-FFF2-40B4-BE49-F238E27FC236}">
                  <a16:creationId xmlns:a16="http://schemas.microsoft.com/office/drawing/2014/main" xmlns="" id="{1BA9F3E1-378D-40F6-B3A8-2ED70DE84754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45">
              <a:extLst>
                <a:ext uri="{FF2B5EF4-FFF2-40B4-BE49-F238E27FC236}">
                  <a16:creationId xmlns:a16="http://schemas.microsoft.com/office/drawing/2014/main" xmlns="" id="{173C959B-681F-4229-9738-0163DE4687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46">
              <a:extLst>
                <a:ext uri="{FF2B5EF4-FFF2-40B4-BE49-F238E27FC236}">
                  <a16:creationId xmlns:a16="http://schemas.microsoft.com/office/drawing/2014/main" xmlns="" id="{3EF7068E-161C-437C-900A-7CC56AF911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47">
              <a:extLst>
                <a:ext uri="{FF2B5EF4-FFF2-40B4-BE49-F238E27FC236}">
                  <a16:creationId xmlns:a16="http://schemas.microsoft.com/office/drawing/2014/main" xmlns="" id="{8154BFEE-F895-426F-85B1-DEAF842093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Freeform 248">
              <a:extLst>
                <a:ext uri="{FF2B5EF4-FFF2-40B4-BE49-F238E27FC236}">
                  <a16:creationId xmlns:a16="http://schemas.microsoft.com/office/drawing/2014/main" xmlns="" id="{0328C38B-608B-427B-9F2D-0482367DE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Freeform 249">
              <a:extLst>
                <a:ext uri="{FF2B5EF4-FFF2-40B4-BE49-F238E27FC236}">
                  <a16:creationId xmlns:a16="http://schemas.microsoft.com/office/drawing/2014/main" xmlns="" id="{669EC150-F210-495E-ACED-235339DBF9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Freeform 250">
              <a:extLst>
                <a:ext uri="{FF2B5EF4-FFF2-40B4-BE49-F238E27FC236}">
                  <a16:creationId xmlns:a16="http://schemas.microsoft.com/office/drawing/2014/main" xmlns="" id="{7EF0ABC6-49D0-4EA8-B1D3-E46B76400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51">
              <a:extLst>
                <a:ext uri="{FF2B5EF4-FFF2-40B4-BE49-F238E27FC236}">
                  <a16:creationId xmlns:a16="http://schemas.microsoft.com/office/drawing/2014/main" xmlns="" id="{6CB9C675-4F31-4603-AB2C-051405A5E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52">
              <a:extLst>
                <a:ext uri="{FF2B5EF4-FFF2-40B4-BE49-F238E27FC236}">
                  <a16:creationId xmlns:a16="http://schemas.microsoft.com/office/drawing/2014/main" xmlns="" id="{83AD1032-B08D-4D4A-A002-1BDF482D5F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Freeform 253">
              <a:extLst>
                <a:ext uri="{FF2B5EF4-FFF2-40B4-BE49-F238E27FC236}">
                  <a16:creationId xmlns:a16="http://schemas.microsoft.com/office/drawing/2014/main" xmlns="" id="{8F70595F-0E2B-4388-8360-032CE91F6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54">
              <a:extLst>
                <a:ext uri="{FF2B5EF4-FFF2-40B4-BE49-F238E27FC236}">
                  <a16:creationId xmlns:a16="http://schemas.microsoft.com/office/drawing/2014/main" xmlns="" id="{00C387C5-50EE-4FD0-8F12-56B48589C3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55">
              <a:extLst>
                <a:ext uri="{FF2B5EF4-FFF2-40B4-BE49-F238E27FC236}">
                  <a16:creationId xmlns:a16="http://schemas.microsoft.com/office/drawing/2014/main" xmlns="" id="{A259FF30-5676-40D7-ACA7-E8DBBD307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56">
              <a:extLst>
                <a:ext uri="{FF2B5EF4-FFF2-40B4-BE49-F238E27FC236}">
                  <a16:creationId xmlns:a16="http://schemas.microsoft.com/office/drawing/2014/main" xmlns="" id="{8CE3D0FC-0DFE-438D-9AE5-45F5B2E40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57">
              <a:extLst>
                <a:ext uri="{FF2B5EF4-FFF2-40B4-BE49-F238E27FC236}">
                  <a16:creationId xmlns:a16="http://schemas.microsoft.com/office/drawing/2014/main" xmlns="" id="{AF7E9060-E2CE-4648-B1CC-51D38029A6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58">
              <a:extLst>
                <a:ext uri="{FF2B5EF4-FFF2-40B4-BE49-F238E27FC236}">
                  <a16:creationId xmlns:a16="http://schemas.microsoft.com/office/drawing/2014/main" xmlns="" id="{45FA3314-0CCF-4886-A512-728FECE77C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59">
              <a:extLst>
                <a:ext uri="{FF2B5EF4-FFF2-40B4-BE49-F238E27FC236}">
                  <a16:creationId xmlns:a16="http://schemas.microsoft.com/office/drawing/2014/main" xmlns="" id="{760287AA-5F5C-44F1-ABC5-35CDE5E7C1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60">
              <a:extLst>
                <a:ext uri="{FF2B5EF4-FFF2-40B4-BE49-F238E27FC236}">
                  <a16:creationId xmlns:a16="http://schemas.microsoft.com/office/drawing/2014/main" xmlns="" id="{B32393D0-BCD0-4E7D-B9C1-E8F1323EC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61">
              <a:extLst>
                <a:ext uri="{FF2B5EF4-FFF2-40B4-BE49-F238E27FC236}">
                  <a16:creationId xmlns:a16="http://schemas.microsoft.com/office/drawing/2014/main" xmlns="" id="{7FCF79B4-801C-460B-B0A9-DCB1D3AE6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Freeform 262">
              <a:extLst>
                <a:ext uri="{FF2B5EF4-FFF2-40B4-BE49-F238E27FC236}">
                  <a16:creationId xmlns:a16="http://schemas.microsoft.com/office/drawing/2014/main" xmlns="" id="{7D1DE08B-25BF-4DB0-80F6-870A8E0B1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Freeform 263">
              <a:extLst>
                <a:ext uri="{FF2B5EF4-FFF2-40B4-BE49-F238E27FC236}">
                  <a16:creationId xmlns:a16="http://schemas.microsoft.com/office/drawing/2014/main" xmlns="" id="{1F307BBB-9B64-4821-BDA6-498D0228B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Freeform 264">
              <a:extLst>
                <a:ext uri="{FF2B5EF4-FFF2-40B4-BE49-F238E27FC236}">
                  <a16:creationId xmlns:a16="http://schemas.microsoft.com/office/drawing/2014/main" xmlns="" id="{96AD1ADE-F0D0-4291-96CF-DC6FF41902D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Freeform 265">
              <a:extLst>
                <a:ext uri="{FF2B5EF4-FFF2-40B4-BE49-F238E27FC236}">
                  <a16:creationId xmlns:a16="http://schemas.microsoft.com/office/drawing/2014/main" xmlns="" id="{D97FF8D6-0128-43A2-94C5-E75ED31C11E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Freeform 266">
              <a:extLst>
                <a:ext uri="{FF2B5EF4-FFF2-40B4-BE49-F238E27FC236}">
                  <a16:creationId xmlns:a16="http://schemas.microsoft.com/office/drawing/2014/main" xmlns="" id="{88FE1A69-67C8-4EA3-BCE0-438CCCB914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Freeform 267">
              <a:extLst>
                <a:ext uri="{FF2B5EF4-FFF2-40B4-BE49-F238E27FC236}">
                  <a16:creationId xmlns:a16="http://schemas.microsoft.com/office/drawing/2014/main" xmlns="" id="{D7041D7C-17A6-4519-8D07-F5FC5886B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Freeform 268">
              <a:extLst>
                <a:ext uri="{FF2B5EF4-FFF2-40B4-BE49-F238E27FC236}">
                  <a16:creationId xmlns:a16="http://schemas.microsoft.com/office/drawing/2014/main" xmlns="" id="{DB0B3E6D-4D8F-493B-AA92-3AD78294B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Freeform 269">
              <a:extLst>
                <a:ext uri="{FF2B5EF4-FFF2-40B4-BE49-F238E27FC236}">
                  <a16:creationId xmlns:a16="http://schemas.microsoft.com/office/drawing/2014/main" xmlns="" id="{D712CF8D-5BB0-4368-B914-B491B1C8D4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Freeform 270">
              <a:extLst>
                <a:ext uri="{FF2B5EF4-FFF2-40B4-BE49-F238E27FC236}">
                  <a16:creationId xmlns:a16="http://schemas.microsoft.com/office/drawing/2014/main" xmlns="" id="{89B781C7-3559-417E-8B7D-CDE8BF6DA1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Freeform 271">
              <a:extLst>
                <a:ext uri="{FF2B5EF4-FFF2-40B4-BE49-F238E27FC236}">
                  <a16:creationId xmlns:a16="http://schemas.microsoft.com/office/drawing/2014/main" xmlns="" id="{989FE657-6385-4FB3-859B-F8724AAFE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Freeform 272">
              <a:extLst>
                <a:ext uri="{FF2B5EF4-FFF2-40B4-BE49-F238E27FC236}">
                  <a16:creationId xmlns:a16="http://schemas.microsoft.com/office/drawing/2014/main" xmlns="" id="{03755775-F952-4902-9D14-1F92329FE7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Freeform 273">
              <a:extLst>
                <a:ext uri="{FF2B5EF4-FFF2-40B4-BE49-F238E27FC236}">
                  <a16:creationId xmlns:a16="http://schemas.microsoft.com/office/drawing/2014/main" xmlns="" id="{05EADEED-D722-4A83-B3DE-02CB45993A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8" name="Freeform 274">
              <a:extLst>
                <a:ext uri="{FF2B5EF4-FFF2-40B4-BE49-F238E27FC236}">
                  <a16:creationId xmlns:a16="http://schemas.microsoft.com/office/drawing/2014/main" xmlns="" id="{5B5A89D1-66E7-4779-9EA8-1ED645C28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9" name="Freeform 275">
              <a:extLst>
                <a:ext uri="{FF2B5EF4-FFF2-40B4-BE49-F238E27FC236}">
                  <a16:creationId xmlns:a16="http://schemas.microsoft.com/office/drawing/2014/main" xmlns="" id="{DCC1256A-4372-464E-98DA-99CAAA593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0" name="Freeform 276">
              <a:extLst>
                <a:ext uri="{FF2B5EF4-FFF2-40B4-BE49-F238E27FC236}">
                  <a16:creationId xmlns:a16="http://schemas.microsoft.com/office/drawing/2014/main" xmlns="" id="{3A2DBD8C-3865-4339-A762-9A5296D99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1" name="Freeform 277">
              <a:extLst>
                <a:ext uri="{FF2B5EF4-FFF2-40B4-BE49-F238E27FC236}">
                  <a16:creationId xmlns:a16="http://schemas.microsoft.com/office/drawing/2014/main" xmlns="" id="{E56529FF-C4BA-407A-A873-4B937F734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2" name="Freeform 278">
              <a:extLst>
                <a:ext uri="{FF2B5EF4-FFF2-40B4-BE49-F238E27FC236}">
                  <a16:creationId xmlns:a16="http://schemas.microsoft.com/office/drawing/2014/main" xmlns="" id="{DFA1F666-26EF-41DF-B7AB-1A2D87933B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3" name="Freeform 279">
              <a:extLst>
                <a:ext uri="{FF2B5EF4-FFF2-40B4-BE49-F238E27FC236}">
                  <a16:creationId xmlns:a16="http://schemas.microsoft.com/office/drawing/2014/main" xmlns="" id="{FE36BBDF-F432-4141-A924-2D6263F008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4" name="Freeform 280">
              <a:extLst>
                <a:ext uri="{FF2B5EF4-FFF2-40B4-BE49-F238E27FC236}">
                  <a16:creationId xmlns:a16="http://schemas.microsoft.com/office/drawing/2014/main" xmlns="" id="{9091A5C7-5324-4DAA-A48E-D01FE15FC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5" name="Freeform 281">
              <a:extLst>
                <a:ext uri="{FF2B5EF4-FFF2-40B4-BE49-F238E27FC236}">
                  <a16:creationId xmlns:a16="http://schemas.microsoft.com/office/drawing/2014/main" xmlns="" id="{F4BF1071-B7CC-4E69-A763-10D40E9DC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6" name="Freeform 282">
              <a:extLst>
                <a:ext uri="{FF2B5EF4-FFF2-40B4-BE49-F238E27FC236}">
                  <a16:creationId xmlns:a16="http://schemas.microsoft.com/office/drawing/2014/main" xmlns="" id="{4EB75F44-4279-45D5-9296-877EA16C9D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7" name="Freeform 283">
              <a:extLst>
                <a:ext uri="{FF2B5EF4-FFF2-40B4-BE49-F238E27FC236}">
                  <a16:creationId xmlns:a16="http://schemas.microsoft.com/office/drawing/2014/main" xmlns="" id="{01D9F7C1-F8E1-48D6-A0AD-673D7469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8" name="Freeform 284">
              <a:extLst>
                <a:ext uri="{FF2B5EF4-FFF2-40B4-BE49-F238E27FC236}">
                  <a16:creationId xmlns:a16="http://schemas.microsoft.com/office/drawing/2014/main" xmlns="" id="{C7F9D381-7C6D-425B-A56F-18F120FA21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9" name="Freeform 285">
              <a:extLst>
                <a:ext uri="{FF2B5EF4-FFF2-40B4-BE49-F238E27FC236}">
                  <a16:creationId xmlns:a16="http://schemas.microsoft.com/office/drawing/2014/main" xmlns="" id="{5FEE2A96-E032-4492-B18F-BA0A18D06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0" name="Freeform 286">
              <a:extLst>
                <a:ext uri="{FF2B5EF4-FFF2-40B4-BE49-F238E27FC236}">
                  <a16:creationId xmlns:a16="http://schemas.microsoft.com/office/drawing/2014/main" xmlns="" id="{91EBB856-F2C7-44D3-B39E-29DA973330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1" name="Freeform 287">
              <a:extLst>
                <a:ext uri="{FF2B5EF4-FFF2-40B4-BE49-F238E27FC236}">
                  <a16:creationId xmlns:a16="http://schemas.microsoft.com/office/drawing/2014/main" xmlns="" id="{5A9DF411-606C-45D6-BD1D-4BEF69F70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2" name="Freeform 288">
              <a:extLst>
                <a:ext uri="{FF2B5EF4-FFF2-40B4-BE49-F238E27FC236}">
                  <a16:creationId xmlns:a16="http://schemas.microsoft.com/office/drawing/2014/main" xmlns="" id="{4FC32938-4911-413C-B401-8A21AD6FCE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3" name="Freeform 289">
              <a:extLst>
                <a:ext uri="{FF2B5EF4-FFF2-40B4-BE49-F238E27FC236}">
                  <a16:creationId xmlns:a16="http://schemas.microsoft.com/office/drawing/2014/main" xmlns="" id="{A369D11C-0008-4BCA-8E5D-6641B8F74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4" name="Freeform 290">
              <a:extLst>
                <a:ext uri="{FF2B5EF4-FFF2-40B4-BE49-F238E27FC236}">
                  <a16:creationId xmlns:a16="http://schemas.microsoft.com/office/drawing/2014/main" xmlns="" id="{3089837E-0796-408D-A93F-1458BBC31B92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5" name="Freeform 291">
              <a:extLst>
                <a:ext uri="{FF2B5EF4-FFF2-40B4-BE49-F238E27FC236}">
                  <a16:creationId xmlns:a16="http://schemas.microsoft.com/office/drawing/2014/main" xmlns="" id="{914BEC16-4EE1-4C4F-A8C2-2704F6D83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6" name="Freeform 292">
              <a:extLst>
                <a:ext uri="{FF2B5EF4-FFF2-40B4-BE49-F238E27FC236}">
                  <a16:creationId xmlns:a16="http://schemas.microsoft.com/office/drawing/2014/main" xmlns="" id="{B258DF75-6808-418E-B81D-62ECCEF225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7" name="Freeform 293">
              <a:extLst>
                <a:ext uri="{FF2B5EF4-FFF2-40B4-BE49-F238E27FC236}">
                  <a16:creationId xmlns:a16="http://schemas.microsoft.com/office/drawing/2014/main" xmlns="" id="{A4CDC4BF-E966-4491-A0FC-A19EC2128B2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8" name="Freeform 294">
              <a:extLst>
                <a:ext uri="{FF2B5EF4-FFF2-40B4-BE49-F238E27FC236}">
                  <a16:creationId xmlns:a16="http://schemas.microsoft.com/office/drawing/2014/main" xmlns="" id="{A2176C37-4A7C-4268-AD01-581BD8E19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9" name="Freeform 295">
              <a:extLst>
                <a:ext uri="{FF2B5EF4-FFF2-40B4-BE49-F238E27FC236}">
                  <a16:creationId xmlns:a16="http://schemas.microsoft.com/office/drawing/2014/main" xmlns="" id="{C7C58B22-218F-4C8A-B866-B23CE3464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0" name="Freeform 296">
              <a:extLst>
                <a:ext uri="{FF2B5EF4-FFF2-40B4-BE49-F238E27FC236}">
                  <a16:creationId xmlns:a16="http://schemas.microsoft.com/office/drawing/2014/main" xmlns="" id="{72ADE30C-B56F-4351-8261-6EA5BA2CC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1" name="Freeform 297">
              <a:extLst>
                <a:ext uri="{FF2B5EF4-FFF2-40B4-BE49-F238E27FC236}">
                  <a16:creationId xmlns:a16="http://schemas.microsoft.com/office/drawing/2014/main" xmlns="" id="{86B1FDA5-4B94-4BAA-AD41-EF6212A5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2" name="Freeform 298">
              <a:extLst>
                <a:ext uri="{FF2B5EF4-FFF2-40B4-BE49-F238E27FC236}">
                  <a16:creationId xmlns:a16="http://schemas.microsoft.com/office/drawing/2014/main" xmlns="" id="{769F2AEE-3872-4750-8BFF-DBF8FF0B6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3" name="Freeform 299">
              <a:extLst>
                <a:ext uri="{FF2B5EF4-FFF2-40B4-BE49-F238E27FC236}">
                  <a16:creationId xmlns:a16="http://schemas.microsoft.com/office/drawing/2014/main" xmlns="" id="{9FF107D3-D1E7-4388-80E4-1ADDD397D1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4" name="Freeform 300">
              <a:extLst>
                <a:ext uri="{FF2B5EF4-FFF2-40B4-BE49-F238E27FC236}">
                  <a16:creationId xmlns:a16="http://schemas.microsoft.com/office/drawing/2014/main" xmlns="" id="{ED721831-9BC9-46AD-80D5-4E847D3E37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5" name="Freeform 301">
              <a:extLst>
                <a:ext uri="{FF2B5EF4-FFF2-40B4-BE49-F238E27FC236}">
                  <a16:creationId xmlns:a16="http://schemas.microsoft.com/office/drawing/2014/main" xmlns="" id="{AA65438A-773A-4BCA-847A-08BAADF9A9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6" name="Freeform 302">
              <a:extLst>
                <a:ext uri="{FF2B5EF4-FFF2-40B4-BE49-F238E27FC236}">
                  <a16:creationId xmlns:a16="http://schemas.microsoft.com/office/drawing/2014/main" xmlns="" id="{56A1EDD7-294B-4E1C-9159-4B1F384A9D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7" name="Freeform 303">
              <a:extLst>
                <a:ext uri="{FF2B5EF4-FFF2-40B4-BE49-F238E27FC236}">
                  <a16:creationId xmlns:a16="http://schemas.microsoft.com/office/drawing/2014/main" xmlns="" id="{2D857D64-0329-47CB-A1C0-5DF3A76F40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8" name="Freeform 304">
              <a:extLst>
                <a:ext uri="{FF2B5EF4-FFF2-40B4-BE49-F238E27FC236}">
                  <a16:creationId xmlns:a16="http://schemas.microsoft.com/office/drawing/2014/main" xmlns="" id="{06426594-7845-4180-B783-43DE5342E1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9" name="Freeform 305">
              <a:extLst>
                <a:ext uri="{FF2B5EF4-FFF2-40B4-BE49-F238E27FC236}">
                  <a16:creationId xmlns:a16="http://schemas.microsoft.com/office/drawing/2014/main" xmlns="" id="{B11C9548-FAC1-47BB-841C-321D136FBAD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0" name="Freeform 306">
              <a:extLst>
                <a:ext uri="{FF2B5EF4-FFF2-40B4-BE49-F238E27FC236}">
                  <a16:creationId xmlns:a16="http://schemas.microsoft.com/office/drawing/2014/main" xmlns="" id="{28BCFDD9-1D61-4A72-A893-1F98A1B73E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1" name="Freeform 307">
              <a:extLst>
                <a:ext uri="{FF2B5EF4-FFF2-40B4-BE49-F238E27FC236}">
                  <a16:creationId xmlns:a16="http://schemas.microsoft.com/office/drawing/2014/main" xmlns="" id="{FA19301E-D08E-4C44-ACCA-BD5D04B667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2" name="Freeform 308">
              <a:extLst>
                <a:ext uri="{FF2B5EF4-FFF2-40B4-BE49-F238E27FC236}">
                  <a16:creationId xmlns:a16="http://schemas.microsoft.com/office/drawing/2014/main" xmlns="" id="{1E17BC59-7950-47AC-BD79-EF423AD3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3" name="Freeform 309">
              <a:extLst>
                <a:ext uri="{FF2B5EF4-FFF2-40B4-BE49-F238E27FC236}">
                  <a16:creationId xmlns:a16="http://schemas.microsoft.com/office/drawing/2014/main" xmlns="" id="{037879B1-E9E1-49C1-BE19-0EBB81EC5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4" name="Freeform 310">
              <a:extLst>
                <a:ext uri="{FF2B5EF4-FFF2-40B4-BE49-F238E27FC236}">
                  <a16:creationId xmlns:a16="http://schemas.microsoft.com/office/drawing/2014/main" xmlns="" id="{78CFC288-55F6-42A9-AE78-442626653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5" name="Freeform 311">
              <a:extLst>
                <a:ext uri="{FF2B5EF4-FFF2-40B4-BE49-F238E27FC236}">
                  <a16:creationId xmlns:a16="http://schemas.microsoft.com/office/drawing/2014/main" xmlns="" id="{9F8236E0-2B07-4A50-B2A2-1DA529B81A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8" name="Заголовок 1">
            <a:extLst>
              <a:ext uri="{FF2B5EF4-FFF2-40B4-BE49-F238E27FC236}">
                <a16:creationId xmlns:a16="http://schemas.microsoft.com/office/drawing/2014/main" xmlns="" id="{4CBC75A2-7960-4977-B67C-0179CFC344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7062" y="1572449"/>
            <a:ext cx="6858000" cy="1790700"/>
          </a:xfrm>
        </p:spPr>
        <p:txBody>
          <a:bodyPr anchor="b">
            <a:normAutofit/>
          </a:bodyPr>
          <a:lstStyle>
            <a:lvl1pPr marL="0" indent="0" algn="ctr">
              <a:defRPr sz="3000">
                <a:solidFill>
                  <a:schemeClr val="bg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xmlns="" id="{6ABF92C5-4FBC-4DBC-9FC7-BFE11C2358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8557" y="3363248"/>
            <a:ext cx="6858000" cy="354744"/>
          </a:xfrm>
        </p:spPr>
        <p:txBody>
          <a:bodyPr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167" name="Рисунок 166">
            <a:extLst>
              <a:ext uri="{FF2B5EF4-FFF2-40B4-BE49-F238E27FC236}">
                <a16:creationId xmlns:a16="http://schemas.microsoft.com/office/drawing/2014/main" xmlns="" id="{26E53AF0-5D15-4ECF-B93E-A65CFD4ACE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l="30801" t="3339" r="25426" b="32774"/>
          <a:stretch/>
        </p:blipFill>
        <p:spPr>
          <a:xfrm>
            <a:off x="253648" y="183791"/>
            <a:ext cx="746567" cy="61290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58760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85A2868C-3D14-41D6-A53D-1B9196AE83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4988597"/>
            <a:ext cx="9144000" cy="154976"/>
          </a:xfrm>
          <a:prstGeom prst="rect">
            <a:avLst/>
          </a:prstGeom>
          <a:ln>
            <a:noFill/>
          </a:ln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1AC8EE9-D3F5-4096-B0F8-14DA3F66C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2" y="4187"/>
            <a:ext cx="6372547" cy="541856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27A3B84-4AB3-4F07-A9CA-E750D09152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5992" y="1008918"/>
            <a:ext cx="8529824" cy="385835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B229AD3F-E42F-4C5F-B845-838B6ACC61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EDCDDE12-499E-4DFD-AE5C-71C692BA27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24" y="9072"/>
            <a:ext cx="569341" cy="4674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9357983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159">
            <a:extLst>
              <a:ext uri="{FF2B5EF4-FFF2-40B4-BE49-F238E27FC236}">
                <a16:creationId xmlns:a16="http://schemas.microsoft.com/office/drawing/2014/main" xmlns="" id="{1C4E4BC4-F28D-4A12-BD15-3B1186AD33C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60078" y="605943"/>
            <a:ext cx="8023844" cy="4160767"/>
            <a:chOff x="363" y="356"/>
            <a:chExt cx="6954" cy="3606"/>
          </a:xfrm>
          <a:solidFill>
            <a:srgbClr val="F2F2F2">
              <a:alpha val="40000"/>
            </a:srgbClr>
          </a:solidFill>
        </p:grpSpPr>
        <p:sp>
          <p:nvSpPr>
            <p:cNvPr id="25" name="Freeform 160">
              <a:extLst>
                <a:ext uri="{FF2B5EF4-FFF2-40B4-BE49-F238E27FC236}">
                  <a16:creationId xmlns:a16="http://schemas.microsoft.com/office/drawing/2014/main" xmlns="" id="{7B2A40E7-5470-4F6B-A05F-1F1274768D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" y="356"/>
              <a:ext cx="6954" cy="3606"/>
            </a:xfrm>
            <a:custGeom>
              <a:avLst/>
              <a:gdLst>
                <a:gd name="T0" fmla="*/ 3439 w 6954"/>
                <a:gd name="T1" fmla="*/ 1099 h 3606"/>
                <a:gd name="T2" fmla="*/ 3262 w 6954"/>
                <a:gd name="T3" fmla="*/ 1101 h 3606"/>
                <a:gd name="T4" fmla="*/ 3136 w 6954"/>
                <a:gd name="T5" fmla="*/ 1279 h 3606"/>
                <a:gd name="T6" fmla="*/ 3365 w 6954"/>
                <a:gd name="T7" fmla="*/ 600 h 3606"/>
                <a:gd name="T8" fmla="*/ 3755 w 6954"/>
                <a:gd name="T9" fmla="*/ 572 h 3606"/>
                <a:gd name="T10" fmla="*/ 4884 w 6954"/>
                <a:gd name="T11" fmla="*/ 557 h 3606"/>
                <a:gd name="T12" fmla="*/ 3639 w 6954"/>
                <a:gd name="T13" fmla="*/ 577 h 3606"/>
                <a:gd name="T14" fmla="*/ 5788 w 6954"/>
                <a:gd name="T15" fmla="*/ 100 h 3606"/>
                <a:gd name="T16" fmla="*/ 4714 w 6954"/>
                <a:gd name="T17" fmla="*/ 824 h 3606"/>
                <a:gd name="T18" fmla="*/ 4742 w 6954"/>
                <a:gd name="T19" fmla="*/ 726 h 3606"/>
                <a:gd name="T20" fmla="*/ 3670 w 6954"/>
                <a:gd name="T21" fmla="*/ 479 h 3606"/>
                <a:gd name="T22" fmla="*/ 3886 w 6954"/>
                <a:gd name="T23" fmla="*/ 789 h 3606"/>
                <a:gd name="T24" fmla="*/ 6854 w 6954"/>
                <a:gd name="T25" fmla="*/ 2468 h 3606"/>
                <a:gd name="T26" fmla="*/ 6821 w 6954"/>
                <a:gd name="T27" fmla="*/ 2141 h 3606"/>
                <a:gd name="T28" fmla="*/ 4119 w 6954"/>
                <a:gd name="T29" fmla="*/ 1181 h 3606"/>
                <a:gd name="T30" fmla="*/ 6895 w 6954"/>
                <a:gd name="T31" fmla="*/ 1428 h 3606"/>
                <a:gd name="T32" fmla="*/ 6736 w 6954"/>
                <a:gd name="T33" fmla="*/ 1643 h 3606"/>
                <a:gd name="T34" fmla="*/ 6560 w 6954"/>
                <a:gd name="T35" fmla="*/ 559 h 3606"/>
                <a:gd name="T36" fmla="*/ 6486 w 6954"/>
                <a:gd name="T37" fmla="*/ 189 h 3606"/>
                <a:gd name="T38" fmla="*/ 5817 w 6954"/>
                <a:gd name="T39" fmla="*/ 525 h 3606"/>
                <a:gd name="T40" fmla="*/ 5113 w 6954"/>
                <a:gd name="T41" fmla="*/ 904 h 3606"/>
                <a:gd name="T42" fmla="*/ 4618 w 6954"/>
                <a:gd name="T43" fmla="*/ 1120 h 3606"/>
                <a:gd name="T44" fmla="*/ 4158 w 6954"/>
                <a:gd name="T45" fmla="*/ 997 h 3606"/>
                <a:gd name="T46" fmla="*/ 3480 w 6954"/>
                <a:gd name="T47" fmla="*/ 1073 h 3606"/>
                <a:gd name="T48" fmla="*/ 3090 w 6954"/>
                <a:gd name="T49" fmla="*/ 1218 h 3606"/>
                <a:gd name="T50" fmla="*/ 2765 w 6954"/>
                <a:gd name="T51" fmla="*/ 1714 h 3606"/>
                <a:gd name="T52" fmla="*/ 2779 w 6954"/>
                <a:gd name="T53" fmla="*/ 1289 h 3606"/>
                <a:gd name="T54" fmla="*/ 2288 w 6954"/>
                <a:gd name="T55" fmla="*/ 1272 h 3606"/>
                <a:gd name="T56" fmla="*/ 1887 w 6954"/>
                <a:gd name="T57" fmla="*/ 1179 h 3606"/>
                <a:gd name="T58" fmla="*/ 1658 w 6954"/>
                <a:gd name="T59" fmla="*/ 869 h 3606"/>
                <a:gd name="T60" fmla="*/ 1641 w 6954"/>
                <a:gd name="T61" fmla="*/ 717 h 3606"/>
                <a:gd name="T62" fmla="*/ 994 w 6954"/>
                <a:gd name="T63" fmla="*/ 1034 h 3606"/>
                <a:gd name="T64" fmla="*/ 652 w 6954"/>
                <a:gd name="T65" fmla="*/ 1515 h 3606"/>
                <a:gd name="T66" fmla="*/ 521 w 6954"/>
                <a:gd name="T67" fmla="*/ 1848 h 3606"/>
                <a:gd name="T68" fmla="*/ 373 w 6954"/>
                <a:gd name="T69" fmla="*/ 2230 h 3606"/>
                <a:gd name="T70" fmla="*/ 322 w 6954"/>
                <a:gd name="T71" fmla="*/ 2713 h 3606"/>
                <a:gd name="T72" fmla="*/ 599 w 6954"/>
                <a:gd name="T73" fmla="*/ 2776 h 3606"/>
                <a:gd name="T74" fmla="*/ 1000 w 6954"/>
                <a:gd name="T75" fmla="*/ 2447 h 3606"/>
                <a:gd name="T76" fmla="*/ 1369 w 6954"/>
                <a:gd name="T77" fmla="*/ 2618 h 3606"/>
                <a:gd name="T78" fmla="*/ 1685 w 6954"/>
                <a:gd name="T79" fmla="*/ 2717 h 3606"/>
                <a:gd name="T80" fmla="*/ 2321 w 6954"/>
                <a:gd name="T81" fmla="*/ 2735 h 3606"/>
                <a:gd name="T82" fmla="*/ 2820 w 6954"/>
                <a:gd name="T83" fmla="*/ 3296 h 3606"/>
                <a:gd name="T84" fmla="*/ 3713 w 6954"/>
                <a:gd name="T85" fmla="*/ 3489 h 3606"/>
                <a:gd name="T86" fmla="*/ 4633 w 6954"/>
                <a:gd name="T87" fmla="*/ 3435 h 3606"/>
                <a:gd name="T88" fmla="*/ 5727 w 6954"/>
                <a:gd name="T89" fmla="*/ 3235 h 3606"/>
                <a:gd name="T90" fmla="*/ 6183 w 6954"/>
                <a:gd name="T91" fmla="*/ 2843 h 3606"/>
                <a:gd name="T92" fmla="*/ 6372 w 6954"/>
                <a:gd name="T93" fmla="*/ 2681 h 3606"/>
                <a:gd name="T94" fmla="*/ 5681 w 6954"/>
                <a:gd name="T95" fmla="*/ 2538 h 3606"/>
                <a:gd name="T96" fmla="*/ 6163 w 6954"/>
                <a:gd name="T97" fmla="*/ 1647 h 3606"/>
                <a:gd name="T98" fmla="*/ 6324 w 6954"/>
                <a:gd name="T99" fmla="*/ 1205 h 3606"/>
                <a:gd name="T100" fmla="*/ 1212 w 6954"/>
                <a:gd name="T101" fmla="*/ 1042 h 3606"/>
                <a:gd name="T102" fmla="*/ 4210 w 6954"/>
                <a:gd name="T103" fmla="*/ 3229 h 3606"/>
                <a:gd name="T104" fmla="*/ 6839 w 6954"/>
                <a:gd name="T105" fmla="*/ 2642 h 3606"/>
                <a:gd name="T106" fmla="*/ 6741 w 6954"/>
                <a:gd name="T107" fmla="*/ 3047 h 3606"/>
                <a:gd name="T108" fmla="*/ 3103 w 6954"/>
                <a:gd name="T109" fmla="*/ 1205 h 3606"/>
                <a:gd name="T110" fmla="*/ 6945 w 6954"/>
                <a:gd name="T111" fmla="*/ 1365 h 3606"/>
                <a:gd name="T112" fmla="*/ 3143 w 6954"/>
                <a:gd name="T113" fmla="*/ 340 h 3606"/>
                <a:gd name="T114" fmla="*/ 2951 w 6954"/>
                <a:gd name="T115" fmla="*/ 273 h 3606"/>
                <a:gd name="T116" fmla="*/ 427 w 6954"/>
                <a:gd name="T117" fmla="*/ 1077 h 3606"/>
                <a:gd name="T118" fmla="*/ 3025 w 6954"/>
                <a:gd name="T119" fmla="*/ 386 h 3606"/>
                <a:gd name="T120" fmla="*/ 2759 w 6954"/>
                <a:gd name="T121" fmla="*/ 867 h 3606"/>
                <a:gd name="T122" fmla="*/ 2617 w 6954"/>
                <a:gd name="T123" fmla="*/ 876 h 3606"/>
                <a:gd name="T124" fmla="*/ 122 w 6954"/>
                <a:gd name="T125" fmla="*/ 2176 h 3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4" h="3606">
                  <a:moveTo>
                    <a:pt x="3378" y="967"/>
                  </a:moveTo>
                  <a:lnTo>
                    <a:pt x="3378" y="969"/>
                  </a:lnTo>
                  <a:lnTo>
                    <a:pt x="3374" y="980"/>
                  </a:lnTo>
                  <a:lnTo>
                    <a:pt x="3374" y="982"/>
                  </a:lnTo>
                  <a:lnTo>
                    <a:pt x="3374" y="984"/>
                  </a:lnTo>
                  <a:lnTo>
                    <a:pt x="3382" y="995"/>
                  </a:lnTo>
                  <a:lnTo>
                    <a:pt x="3387" y="999"/>
                  </a:lnTo>
                  <a:lnTo>
                    <a:pt x="3389" y="995"/>
                  </a:lnTo>
                  <a:lnTo>
                    <a:pt x="3400" y="986"/>
                  </a:lnTo>
                  <a:lnTo>
                    <a:pt x="3400" y="984"/>
                  </a:lnTo>
                  <a:lnTo>
                    <a:pt x="3400" y="984"/>
                  </a:lnTo>
                  <a:lnTo>
                    <a:pt x="3400" y="971"/>
                  </a:lnTo>
                  <a:lnTo>
                    <a:pt x="3400" y="969"/>
                  </a:lnTo>
                  <a:lnTo>
                    <a:pt x="3397" y="967"/>
                  </a:lnTo>
                  <a:lnTo>
                    <a:pt x="3382" y="967"/>
                  </a:lnTo>
                  <a:lnTo>
                    <a:pt x="3378" y="967"/>
                  </a:lnTo>
                  <a:close/>
                  <a:moveTo>
                    <a:pt x="3397" y="1118"/>
                  </a:moveTo>
                  <a:lnTo>
                    <a:pt x="3397" y="1131"/>
                  </a:lnTo>
                  <a:lnTo>
                    <a:pt x="3397" y="1133"/>
                  </a:lnTo>
                  <a:lnTo>
                    <a:pt x="3400" y="1136"/>
                  </a:lnTo>
                  <a:lnTo>
                    <a:pt x="3408" y="1140"/>
                  </a:lnTo>
                  <a:lnTo>
                    <a:pt x="3413" y="1144"/>
                  </a:lnTo>
                  <a:lnTo>
                    <a:pt x="3415" y="1140"/>
                  </a:lnTo>
                  <a:lnTo>
                    <a:pt x="3419" y="1129"/>
                  </a:lnTo>
                  <a:lnTo>
                    <a:pt x="3421" y="1127"/>
                  </a:lnTo>
                  <a:lnTo>
                    <a:pt x="3417" y="1125"/>
                  </a:lnTo>
                  <a:lnTo>
                    <a:pt x="3404" y="1116"/>
                  </a:lnTo>
                  <a:lnTo>
                    <a:pt x="3397" y="1112"/>
                  </a:lnTo>
                  <a:lnTo>
                    <a:pt x="3397" y="1118"/>
                  </a:lnTo>
                  <a:close/>
                  <a:moveTo>
                    <a:pt x="3387" y="1155"/>
                  </a:moveTo>
                  <a:lnTo>
                    <a:pt x="3382" y="1151"/>
                  </a:lnTo>
                  <a:lnTo>
                    <a:pt x="3380" y="1157"/>
                  </a:lnTo>
                  <a:lnTo>
                    <a:pt x="3376" y="1172"/>
                  </a:lnTo>
                  <a:lnTo>
                    <a:pt x="3374" y="1177"/>
                  </a:lnTo>
                  <a:lnTo>
                    <a:pt x="3376" y="1177"/>
                  </a:lnTo>
                  <a:lnTo>
                    <a:pt x="3384" y="1183"/>
                  </a:lnTo>
                  <a:lnTo>
                    <a:pt x="3389" y="1188"/>
                  </a:lnTo>
                  <a:lnTo>
                    <a:pt x="3391" y="1183"/>
                  </a:lnTo>
                  <a:lnTo>
                    <a:pt x="3397" y="1172"/>
                  </a:lnTo>
                  <a:lnTo>
                    <a:pt x="3397" y="1168"/>
                  </a:lnTo>
                  <a:lnTo>
                    <a:pt x="3397" y="1166"/>
                  </a:lnTo>
                  <a:lnTo>
                    <a:pt x="3387" y="1155"/>
                  </a:lnTo>
                  <a:close/>
                  <a:moveTo>
                    <a:pt x="3413" y="1110"/>
                  </a:moveTo>
                  <a:lnTo>
                    <a:pt x="3415" y="1112"/>
                  </a:lnTo>
                  <a:lnTo>
                    <a:pt x="3415" y="1112"/>
                  </a:lnTo>
                  <a:lnTo>
                    <a:pt x="3426" y="1118"/>
                  </a:lnTo>
                  <a:lnTo>
                    <a:pt x="3428" y="1123"/>
                  </a:lnTo>
                  <a:lnTo>
                    <a:pt x="3430" y="1118"/>
                  </a:lnTo>
                  <a:lnTo>
                    <a:pt x="3441" y="1105"/>
                  </a:lnTo>
                  <a:lnTo>
                    <a:pt x="3443" y="1101"/>
                  </a:lnTo>
                  <a:lnTo>
                    <a:pt x="3439" y="1099"/>
                  </a:lnTo>
                  <a:lnTo>
                    <a:pt x="3424" y="1088"/>
                  </a:lnTo>
                  <a:lnTo>
                    <a:pt x="3421" y="1086"/>
                  </a:lnTo>
                  <a:lnTo>
                    <a:pt x="3419" y="1088"/>
                  </a:lnTo>
                  <a:lnTo>
                    <a:pt x="3411" y="1094"/>
                  </a:lnTo>
                  <a:lnTo>
                    <a:pt x="3408" y="1097"/>
                  </a:lnTo>
                  <a:lnTo>
                    <a:pt x="3408" y="1099"/>
                  </a:lnTo>
                  <a:lnTo>
                    <a:pt x="3413" y="1110"/>
                  </a:lnTo>
                  <a:close/>
                  <a:moveTo>
                    <a:pt x="3557" y="876"/>
                  </a:moveTo>
                  <a:lnTo>
                    <a:pt x="3557" y="878"/>
                  </a:lnTo>
                  <a:lnTo>
                    <a:pt x="3559" y="878"/>
                  </a:lnTo>
                  <a:lnTo>
                    <a:pt x="3578" y="891"/>
                  </a:lnTo>
                  <a:lnTo>
                    <a:pt x="3585" y="893"/>
                  </a:lnTo>
                  <a:lnTo>
                    <a:pt x="3585" y="886"/>
                  </a:lnTo>
                  <a:lnTo>
                    <a:pt x="3587" y="871"/>
                  </a:lnTo>
                  <a:lnTo>
                    <a:pt x="3587" y="869"/>
                  </a:lnTo>
                  <a:lnTo>
                    <a:pt x="3585" y="867"/>
                  </a:lnTo>
                  <a:lnTo>
                    <a:pt x="3572" y="852"/>
                  </a:lnTo>
                  <a:lnTo>
                    <a:pt x="3570" y="847"/>
                  </a:lnTo>
                  <a:lnTo>
                    <a:pt x="3565" y="852"/>
                  </a:lnTo>
                  <a:lnTo>
                    <a:pt x="3557" y="860"/>
                  </a:lnTo>
                  <a:lnTo>
                    <a:pt x="3554" y="860"/>
                  </a:lnTo>
                  <a:lnTo>
                    <a:pt x="3554" y="863"/>
                  </a:lnTo>
                  <a:lnTo>
                    <a:pt x="3557" y="876"/>
                  </a:lnTo>
                  <a:close/>
                  <a:moveTo>
                    <a:pt x="3437" y="466"/>
                  </a:moveTo>
                  <a:lnTo>
                    <a:pt x="3437" y="468"/>
                  </a:lnTo>
                  <a:lnTo>
                    <a:pt x="3439" y="470"/>
                  </a:lnTo>
                  <a:lnTo>
                    <a:pt x="3459" y="475"/>
                  </a:lnTo>
                  <a:lnTo>
                    <a:pt x="3459" y="475"/>
                  </a:lnTo>
                  <a:lnTo>
                    <a:pt x="3461" y="475"/>
                  </a:lnTo>
                  <a:lnTo>
                    <a:pt x="3480" y="470"/>
                  </a:lnTo>
                  <a:lnTo>
                    <a:pt x="3485" y="468"/>
                  </a:lnTo>
                  <a:lnTo>
                    <a:pt x="3482" y="464"/>
                  </a:lnTo>
                  <a:lnTo>
                    <a:pt x="3472" y="438"/>
                  </a:lnTo>
                  <a:lnTo>
                    <a:pt x="3472" y="438"/>
                  </a:lnTo>
                  <a:lnTo>
                    <a:pt x="3469" y="438"/>
                  </a:lnTo>
                  <a:lnTo>
                    <a:pt x="3456" y="425"/>
                  </a:lnTo>
                  <a:lnTo>
                    <a:pt x="3452" y="423"/>
                  </a:lnTo>
                  <a:lnTo>
                    <a:pt x="3450" y="425"/>
                  </a:lnTo>
                  <a:lnTo>
                    <a:pt x="3439" y="436"/>
                  </a:lnTo>
                  <a:lnTo>
                    <a:pt x="3439" y="436"/>
                  </a:lnTo>
                  <a:lnTo>
                    <a:pt x="3439" y="438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55"/>
                  </a:lnTo>
                  <a:lnTo>
                    <a:pt x="3437" y="466"/>
                  </a:lnTo>
                  <a:close/>
                  <a:moveTo>
                    <a:pt x="3256" y="1071"/>
                  </a:moveTo>
                  <a:lnTo>
                    <a:pt x="3256" y="1073"/>
                  </a:lnTo>
                  <a:lnTo>
                    <a:pt x="3251" y="1084"/>
                  </a:lnTo>
                  <a:lnTo>
                    <a:pt x="3251" y="1086"/>
                  </a:lnTo>
                  <a:lnTo>
                    <a:pt x="3254" y="1088"/>
                  </a:lnTo>
                  <a:lnTo>
                    <a:pt x="3262" y="1101"/>
                  </a:lnTo>
                  <a:lnTo>
                    <a:pt x="3267" y="1105"/>
                  </a:lnTo>
                  <a:lnTo>
                    <a:pt x="3269" y="1101"/>
                  </a:lnTo>
                  <a:lnTo>
                    <a:pt x="3280" y="1090"/>
                  </a:lnTo>
                  <a:lnTo>
                    <a:pt x="3282" y="1088"/>
                  </a:lnTo>
                  <a:lnTo>
                    <a:pt x="3282" y="1086"/>
                  </a:lnTo>
                  <a:lnTo>
                    <a:pt x="3275" y="1068"/>
                  </a:lnTo>
                  <a:lnTo>
                    <a:pt x="3275" y="1064"/>
                  </a:lnTo>
                  <a:lnTo>
                    <a:pt x="3271" y="1066"/>
                  </a:lnTo>
                  <a:lnTo>
                    <a:pt x="3258" y="1071"/>
                  </a:lnTo>
                  <a:lnTo>
                    <a:pt x="3256" y="1071"/>
                  </a:lnTo>
                  <a:close/>
                  <a:moveTo>
                    <a:pt x="3236" y="1227"/>
                  </a:moveTo>
                  <a:lnTo>
                    <a:pt x="3234" y="1224"/>
                  </a:lnTo>
                  <a:lnTo>
                    <a:pt x="3219" y="1218"/>
                  </a:lnTo>
                  <a:lnTo>
                    <a:pt x="3217" y="1216"/>
                  </a:lnTo>
                  <a:lnTo>
                    <a:pt x="3214" y="1220"/>
                  </a:lnTo>
                  <a:lnTo>
                    <a:pt x="3199" y="1242"/>
                  </a:lnTo>
                  <a:lnTo>
                    <a:pt x="3197" y="1244"/>
                  </a:lnTo>
                  <a:lnTo>
                    <a:pt x="3199" y="1248"/>
                  </a:lnTo>
                  <a:lnTo>
                    <a:pt x="3219" y="1272"/>
                  </a:lnTo>
                  <a:lnTo>
                    <a:pt x="3221" y="1274"/>
                  </a:lnTo>
                  <a:lnTo>
                    <a:pt x="3223" y="1274"/>
                  </a:lnTo>
                  <a:lnTo>
                    <a:pt x="3236" y="1268"/>
                  </a:lnTo>
                  <a:lnTo>
                    <a:pt x="3241" y="1266"/>
                  </a:lnTo>
                  <a:lnTo>
                    <a:pt x="3241" y="1263"/>
                  </a:lnTo>
                  <a:lnTo>
                    <a:pt x="3236" y="1229"/>
                  </a:lnTo>
                  <a:lnTo>
                    <a:pt x="3236" y="1227"/>
                  </a:lnTo>
                  <a:close/>
                  <a:moveTo>
                    <a:pt x="3193" y="414"/>
                  </a:moveTo>
                  <a:lnTo>
                    <a:pt x="3193" y="412"/>
                  </a:lnTo>
                  <a:lnTo>
                    <a:pt x="3186" y="390"/>
                  </a:lnTo>
                  <a:lnTo>
                    <a:pt x="3184" y="388"/>
                  </a:lnTo>
                  <a:lnTo>
                    <a:pt x="3184" y="388"/>
                  </a:lnTo>
                  <a:lnTo>
                    <a:pt x="3158" y="377"/>
                  </a:lnTo>
                  <a:lnTo>
                    <a:pt x="3156" y="377"/>
                  </a:lnTo>
                  <a:lnTo>
                    <a:pt x="3153" y="377"/>
                  </a:lnTo>
                  <a:lnTo>
                    <a:pt x="3132" y="397"/>
                  </a:lnTo>
                  <a:lnTo>
                    <a:pt x="3129" y="397"/>
                  </a:lnTo>
                  <a:lnTo>
                    <a:pt x="3129" y="399"/>
                  </a:lnTo>
                  <a:lnTo>
                    <a:pt x="3129" y="414"/>
                  </a:lnTo>
                  <a:lnTo>
                    <a:pt x="3129" y="416"/>
                  </a:lnTo>
                  <a:lnTo>
                    <a:pt x="3129" y="418"/>
                  </a:lnTo>
                  <a:lnTo>
                    <a:pt x="3149" y="433"/>
                  </a:lnTo>
                  <a:lnTo>
                    <a:pt x="3151" y="436"/>
                  </a:lnTo>
                  <a:lnTo>
                    <a:pt x="3153" y="436"/>
                  </a:lnTo>
                  <a:lnTo>
                    <a:pt x="3190" y="416"/>
                  </a:lnTo>
                  <a:lnTo>
                    <a:pt x="3193" y="414"/>
                  </a:lnTo>
                  <a:close/>
                  <a:moveTo>
                    <a:pt x="3171" y="1248"/>
                  </a:moveTo>
                  <a:lnTo>
                    <a:pt x="3166" y="1253"/>
                  </a:lnTo>
                  <a:lnTo>
                    <a:pt x="3145" y="1263"/>
                  </a:lnTo>
                  <a:lnTo>
                    <a:pt x="3143" y="1266"/>
                  </a:lnTo>
                  <a:lnTo>
                    <a:pt x="3143" y="1266"/>
                  </a:lnTo>
                  <a:lnTo>
                    <a:pt x="3136" y="1279"/>
                  </a:lnTo>
                  <a:lnTo>
                    <a:pt x="3134" y="1283"/>
                  </a:lnTo>
                  <a:lnTo>
                    <a:pt x="3138" y="1285"/>
                  </a:lnTo>
                  <a:lnTo>
                    <a:pt x="3156" y="1292"/>
                  </a:lnTo>
                  <a:lnTo>
                    <a:pt x="3158" y="1292"/>
                  </a:lnTo>
                  <a:lnTo>
                    <a:pt x="3158" y="1292"/>
                  </a:lnTo>
                  <a:lnTo>
                    <a:pt x="3177" y="1287"/>
                  </a:lnTo>
                  <a:lnTo>
                    <a:pt x="3182" y="1287"/>
                  </a:lnTo>
                  <a:lnTo>
                    <a:pt x="3182" y="1283"/>
                  </a:lnTo>
                  <a:lnTo>
                    <a:pt x="3173" y="1255"/>
                  </a:lnTo>
                  <a:lnTo>
                    <a:pt x="3171" y="1248"/>
                  </a:lnTo>
                  <a:close/>
                  <a:moveTo>
                    <a:pt x="3204" y="397"/>
                  </a:moveTo>
                  <a:lnTo>
                    <a:pt x="3201" y="399"/>
                  </a:lnTo>
                  <a:lnTo>
                    <a:pt x="3197" y="407"/>
                  </a:lnTo>
                  <a:lnTo>
                    <a:pt x="3197" y="410"/>
                  </a:lnTo>
                  <a:lnTo>
                    <a:pt x="3197" y="412"/>
                  </a:lnTo>
                  <a:lnTo>
                    <a:pt x="3201" y="431"/>
                  </a:lnTo>
                  <a:lnTo>
                    <a:pt x="3201" y="433"/>
                  </a:lnTo>
                  <a:lnTo>
                    <a:pt x="3206" y="433"/>
                  </a:lnTo>
                  <a:lnTo>
                    <a:pt x="3243" y="433"/>
                  </a:lnTo>
                  <a:lnTo>
                    <a:pt x="3245" y="433"/>
                  </a:lnTo>
                  <a:lnTo>
                    <a:pt x="3245" y="431"/>
                  </a:lnTo>
                  <a:lnTo>
                    <a:pt x="3260" y="405"/>
                  </a:lnTo>
                  <a:lnTo>
                    <a:pt x="3262" y="403"/>
                  </a:lnTo>
                  <a:lnTo>
                    <a:pt x="3260" y="401"/>
                  </a:lnTo>
                  <a:lnTo>
                    <a:pt x="3249" y="381"/>
                  </a:lnTo>
                  <a:lnTo>
                    <a:pt x="3245" y="377"/>
                  </a:lnTo>
                  <a:lnTo>
                    <a:pt x="3241" y="381"/>
                  </a:lnTo>
                  <a:lnTo>
                    <a:pt x="3228" y="401"/>
                  </a:lnTo>
                  <a:lnTo>
                    <a:pt x="3206" y="397"/>
                  </a:lnTo>
                  <a:lnTo>
                    <a:pt x="3204" y="397"/>
                  </a:lnTo>
                  <a:close/>
                  <a:moveTo>
                    <a:pt x="3343" y="1029"/>
                  </a:moveTo>
                  <a:lnTo>
                    <a:pt x="3343" y="1032"/>
                  </a:lnTo>
                  <a:lnTo>
                    <a:pt x="3343" y="1032"/>
                  </a:lnTo>
                  <a:lnTo>
                    <a:pt x="3356" y="1038"/>
                  </a:lnTo>
                  <a:lnTo>
                    <a:pt x="3358" y="1040"/>
                  </a:lnTo>
                  <a:lnTo>
                    <a:pt x="3360" y="1038"/>
                  </a:lnTo>
                  <a:lnTo>
                    <a:pt x="3376" y="1029"/>
                  </a:lnTo>
                  <a:lnTo>
                    <a:pt x="3380" y="1027"/>
                  </a:lnTo>
                  <a:lnTo>
                    <a:pt x="3378" y="1023"/>
                  </a:lnTo>
                  <a:lnTo>
                    <a:pt x="3369" y="1008"/>
                  </a:lnTo>
                  <a:lnTo>
                    <a:pt x="3367" y="1006"/>
                  </a:lnTo>
                  <a:lnTo>
                    <a:pt x="3365" y="1006"/>
                  </a:lnTo>
                  <a:lnTo>
                    <a:pt x="3352" y="1001"/>
                  </a:lnTo>
                  <a:lnTo>
                    <a:pt x="3350" y="1001"/>
                  </a:lnTo>
                  <a:lnTo>
                    <a:pt x="3347" y="1001"/>
                  </a:lnTo>
                  <a:lnTo>
                    <a:pt x="3334" y="1014"/>
                  </a:lnTo>
                  <a:lnTo>
                    <a:pt x="3332" y="1016"/>
                  </a:lnTo>
                  <a:lnTo>
                    <a:pt x="3334" y="1019"/>
                  </a:lnTo>
                  <a:lnTo>
                    <a:pt x="3343" y="1029"/>
                  </a:lnTo>
                  <a:close/>
                  <a:moveTo>
                    <a:pt x="3363" y="598"/>
                  </a:moveTo>
                  <a:lnTo>
                    <a:pt x="3365" y="600"/>
                  </a:lnTo>
                  <a:lnTo>
                    <a:pt x="3367" y="600"/>
                  </a:lnTo>
                  <a:lnTo>
                    <a:pt x="3387" y="600"/>
                  </a:lnTo>
                  <a:lnTo>
                    <a:pt x="3391" y="600"/>
                  </a:lnTo>
                  <a:lnTo>
                    <a:pt x="3389" y="596"/>
                  </a:lnTo>
                  <a:lnTo>
                    <a:pt x="3389" y="579"/>
                  </a:lnTo>
                  <a:lnTo>
                    <a:pt x="3389" y="577"/>
                  </a:lnTo>
                  <a:lnTo>
                    <a:pt x="3389" y="577"/>
                  </a:lnTo>
                  <a:lnTo>
                    <a:pt x="3376" y="559"/>
                  </a:lnTo>
                  <a:lnTo>
                    <a:pt x="3374" y="557"/>
                  </a:lnTo>
                  <a:lnTo>
                    <a:pt x="3369" y="557"/>
                  </a:lnTo>
                  <a:lnTo>
                    <a:pt x="3354" y="566"/>
                  </a:lnTo>
                  <a:lnTo>
                    <a:pt x="3352" y="566"/>
                  </a:lnTo>
                  <a:lnTo>
                    <a:pt x="3352" y="568"/>
                  </a:lnTo>
                  <a:lnTo>
                    <a:pt x="3347" y="581"/>
                  </a:lnTo>
                  <a:lnTo>
                    <a:pt x="3347" y="583"/>
                  </a:lnTo>
                  <a:lnTo>
                    <a:pt x="3350" y="585"/>
                  </a:lnTo>
                  <a:lnTo>
                    <a:pt x="3363" y="598"/>
                  </a:lnTo>
                  <a:close/>
                  <a:moveTo>
                    <a:pt x="3367" y="1140"/>
                  </a:moveTo>
                  <a:lnTo>
                    <a:pt x="3365" y="1140"/>
                  </a:lnTo>
                  <a:lnTo>
                    <a:pt x="3350" y="1136"/>
                  </a:lnTo>
                  <a:lnTo>
                    <a:pt x="3347" y="1136"/>
                  </a:lnTo>
                  <a:lnTo>
                    <a:pt x="3345" y="1138"/>
                  </a:lnTo>
                  <a:lnTo>
                    <a:pt x="3336" y="1153"/>
                  </a:lnTo>
                  <a:lnTo>
                    <a:pt x="3334" y="1157"/>
                  </a:lnTo>
                  <a:lnTo>
                    <a:pt x="3339" y="1159"/>
                  </a:lnTo>
                  <a:lnTo>
                    <a:pt x="3354" y="1172"/>
                  </a:lnTo>
                  <a:lnTo>
                    <a:pt x="3356" y="1177"/>
                  </a:lnTo>
                  <a:lnTo>
                    <a:pt x="3369" y="1162"/>
                  </a:lnTo>
                  <a:lnTo>
                    <a:pt x="3371" y="1162"/>
                  </a:lnTo>
                  <a:lnTo>
                    <a:pt x="3371" y="1159"/>
                  </a:lnTo>
                  <a:lnTo>
                    <a:pt x="3367" y="1142"/>
                  </a:lnTo>
                  <a:lnTo>
                    <a:pt x="3367" y="1140"/>
                  </a:lnTo>
                  <a:close/>
                  <a:moveTo>
                    <a:pt x="3243" y="349"/>
                  </a:moveTo>
                  <a:lnTo>
                    <a:pt x="3245" y="353"/>
                  </a:lnTo>
                  <a:lnTo>
                    <a:pt x="3249" y="351"/>
                  </a:lnTo>
                  <a:lnTo>
                    <a:pt x="3265" y="347"/>
                  </a:lnTo>
                  <a:lnTo>
                    <a:pt x="3269" y="345"/>
                  </a:lnTo>
                  <a:lnTo>
                    <a:pt x="3267" y="340"/>
                  </a:lnTo>
                  <a:lnTo>
                    <a:pt x="3260" y="321"/>
                  </a:lnTo>
                  <a:lnTo>
                    <a:pt x="3260" y="314"/>
                  </a:lnTo>
                  <a:lnTo>
                    <a:pt x="3256" y="319"/>
                  </a:lnTo>
                  <a:lnTo>
                    <a:pt x="3241" y="327"/>
                  </a:lnTo>
                  <a:lnTo>
                    <a:pt x="3236" y="329"/>
                  </a:lnTo>
                  <a:lnTo>
                    <a:pt x="3238" y="332"/>
                  </a:lnTo>
                  <a:lnTo>
                    <a:pt x="3243" y="349"/>
                  </a:lnTo>
                  <a:close/>
                  <a:moveTo>
                    <a:pt x="3779" y="592"/>
                  </a:moveTo>
                  <a:lnTo>
                    <a:pt x="3777" y="607"/>
                  </a:lnTo>
                  <a:lnTo>
                    <a:pt x="3768" y="609"/>
                  </a:lnTo>
                  <a:lnTo>
                    <a:pt x="3759" y="574"/>
                  </a:lnTo>
                  <a:lnTo>
                    <a:pt x="3759" y="570"/>
                  </a:lnTo>
                  <a:lnTo>
                    <a:pt x="3755" y="572"/>
                  </a:lnTo>
                  <a:lnTo>
                    <a:pt x="3700" y="600"/>
                  </a:lnTo>
                  <a:lnTo>
                    <a:pt x="3698" y="600"/>
                  </a:lnTo>
                  <a:lnTo>
                    <a:pt x="3698" y="603"/>
                  </a:lnTo>
                  <a:lnTo>
                    <a:pt x="3679" y="650"/>
                  </a:lnTo>
                  <a:lnTo>
                    <a:pt x="3676" y="650"/>
                  </a:lnTo>
                  <a:lnTo>
                    <a:pt x="3676" y="652"/>
                  </a:lnTo>
                  <a:lnTo>
                    <a:pt x="3676" y="668"/>
                  </a:lnTo>
                  <a:lnTo>
                    <a:pt x="3676" y="670"/>
                  </a:lnTo>
                  <a:lnTo>
                    <a:pt x="3679" y="672"/>
                  </a:lnTo>
                  <a:lnTo>
                    <a:pt x="3698" y="68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35" y="711"/>
                  </a:lnTo>
                  <a:lnTo>
                    <a:pt x="3777" y="739"/>
                  </a:lnTo>
                  <a:lnTo>
                    <a:pt x="3777" y="739"/>
                  </a:lnTo>
                  <a:lnTo>
                    <a:pt x="3781" y="739"/>
                  </a:lnTo>
                  <a:lnTo>
                    <a:pt x="3801" y="728"/>
                  </a:lnTo>
                  <a:lnTo>
                    <a:pt x="3803" y="728"/>
                  </a:lnTo>
                  <a:lnTo>
                    <a:pt x="3803" y="726"/>
                  </a:lnTo>
                  <a:lnTo>
                    <a:pt x="3807" y="698"/>
                  </a:lnTo>
                  <a:lnTo>
                    <a:pt x="3807" y="696"/>
                  </a:lnTo>
                  <a:lnTo>
                    <a:pt x="3805" y="694"/>
                  </a:lnTo>
                  <a:lnTo>
                    <a:pt x="3792" y="678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09" y="650"/>
                  </a:lnTo>
                  <a:lnTo>
                    <a:pt x="3812" y="618"/>
                  </a:lnTo>
                  <a:lnTo>
                    <a:pt x="3812" y="616"/>
                  </a:lnTo>
                  <a:lnTo>
                    <a:pt x="3809" y="613"/>
                  </a:lnTo>
                  <a:lnTo>
                    <a:pt x="3785" y="590"/>
                  </a:lnTo>
                  <a:lnTo>
                    <a:pt x="3779" y="585"/>
                  </a:lnTo>
                  <a:lnTo>
                    <a:pt x="3779" y="592"/>
                  </a:lnTo>
                  <a:close/>
                  <a:moveTo>
                    <a:pt x="4779" y="943"/>
                  </a:moveTo>
                  <a:lnTo>
                    <a:pt x="4775" y="941"/>
                  </a:lnTo>
                  <a:lnTo>
                    <a:pt x="4731" y="936"/>
                  </a:lnTo>
                  <a:lnTo>
                    <a:pt x="4725" y="934"/>
                  </a:lnTo>
                  <a:lnTo>
                    <a:pt x="4727" y="941"/>
                  </a:lnTo>
                  <a:lnTo>
                    <a:pt x="4736" y="962"/>
                  </a:lnTo>
                  <a:lnTo>
                    <a:pt x="4736" y="962"/>
                  </a:lnTo>
                  <a:lnTo>
                    <a:pt x="4738" y="964"/>
                  </a:lnTo>
                  <a:lnTo>
                    <a:pt x="4757" y="975"/>
                  </a:lnTo>
                  <a:lnTo>
                    <a:pt x="4760" y="977"/>
                  </a:lnTo>
                  <a:lnTo>
                    <a:pt x="4762" y="977"/>
                  </a:lnTo>
                  <a:lnTo>
                    <a:pt x="4779" y="971"/>
                  </a:lnTo>
                  <a:lnTo>
                    <a:pt x="4781" y="971"/>
                  </a:lnTo>
                  <a:lnTo>
                    <a:pt x="4781" y="967"/>
                  </a:lnTo>
                  <a:lnTo>
                    <a:pt x="4779" y="945"/>
                  </a:lnTo>
                  <a:lnTo>
                    <a:pt x="4779" y="943"/>
                  </a:lnTo>
                  <a:close/>
                  <a:moveTo>
                    <a:pt x="4879" y="561"/>
                  </a:moveTo>
                  <a:lnTo>
                    <a:pt x="4882" y="561"/>
                  </a:lnTo>
                  <a:lnTo>
                    <a:pt x="4884" y="557"/>
                  </a:lnTo>
                  <a:lnTo>
                    <a:pt x="4890" y="540"/>
                  </a:lnTo>
                  <a:lnTo>
                    <a:pt x="4893" y="535"/>
                  </a:lnTo>
                  <a:lnTo>
                    <a:pt x="4888" y="533"/>
                  </a:lnTo>
                  <a:lnTo>
                    <a:pt x="4869" y="527"/>
                  </a:lnTo>
                  <a:lnTo>
                    <a:pt x="4864" y="527"/>
                  </a:lnTo>
                  <a:lnTo>
                    <a:pt x="4864" y="531"/>
                  </a:lnTo>
                  <a:lnTo>
                    <a:pt x="4858" y="551"/>
                  </a:lnTo>
                  <a:lnTo>
                    <a:pt x="4858" y="555"/>
                  </a:lnTo>
                  <a:lnTo>
                    <a:pt x="4862" y="557"/>
                  </a:lnTo>
                  <a:lnTo>
                    <a:pt x="4879" y="561"/>
                  </a:lnTo>
                  <a:close/>
                  <a:moveTo>
                    <a:pt x="3626" y="611"/>
                  </a:moveTo>
                  <a:lnTo>
                    <a:pt x="3626" y="613"/>
                  </a:lnTo>
                  <a:lnTo>
                    <a:pt x="3626" y="613"/>
                  </a:lnTo>
                  <a:lnTo>
                    <a:pt x="3657" y="635"/>
                  </a:lnTo>
                  <a:lnTo>
                    <a:pt x="3659" y="635"/>
                  </a:lnTo>
                  <a:lnTo>
                    <a:pt x="3661" y="635"/>
                  </a:lnTo>
                  <a:lnTo>
                    <a:pt x="3683" y="622"/>
                  </a:lnTo>
                  <a:lnTo>
                    <a:pt x="3683" y="622"/>
                  </a:lnTo>
                  <a:lnTo>
                    <a:pt x="3685" y="620"/>
                  </a:lnTo>
                  <a:lnTo>
                    <a:pt x="3690" y="600"/>
                  </a:lnTo>
                  <a:lnTo>
                    <a:pt x="3692" y="596"/>
                  </a:lnTo>
                  <a:lnTo>
                    <a:pt x="3692" y="596"/>
                  </a:lnTo>
                  <a:lnTo>
                    <a:pt x="3694" y="596"/>
                  </a:lnTo>
                  <a:lnTo>
                    <a:pt x="3753" y="570"/>
                  </a:lnTo>
                  <a:lnTo>
                    <a:pt x="3755" y="568"/>
                  </a:lnTo>
                  <a:lnTo>
                    <a:pt x="3755" y="546"/>
                  </a:lnTo>
                  <a:lnTo>
                    <a:pt x="3777" y="535"/>
                  </a:lnTo>
                  <a:lnTo>
                    <a:pt x="3781" y="533"/>
                  </a:lnTo>
                  <a:lnTo>
                    <a:pt x="3779" y="529"/>
                  </a:lnTo>
                  <a:lnTo>
                    <a:pt x="3770" y="512"/>
                  </a:lnTo>
                  <a:lnTo>
                    <a:pt x="3755" y="472"/>
                  </a:lnTo>
                  <a:lnTo>
                    <a:pt x="3755" y="470"/>
                  </a:lnTo>
                  <a:lnTo>
                    <a:pt x="3755" y="470"/>
                  </a:lnTo>
                  <a:lnTo>
                    <a:pt x="3729" y="446"/>
                  </a:lnTo>
                  <a:lnTo>
                    <a:pt x="3727" y="444"/>
                  </a:lnTo>
                  <a:lnTo>
                    <a:pt x="3722" y="449"/>
                  </a:lnTo>
                  <a:lnTo>
                    <a:pt x="3700" y="470"/>
                  </a:lnTo>
                  <a:lnTo>
                    <a:pt x="3679" y="485"/>
                  </a:lnTo>
                  <a:lnTo>
                    <a:pt x="3676" y="485"/>
                  </a:lnTo>
                  <a:lnTo>
                    <a:pt x="3676" y="490"/>
                  </a:lnTo>
                  <a:lnTo>
                    <a:pt x="3683" y="514"/>
                  </a:lnTo>
                  <a:lnTo>
                    <a:pt x="3659" y="544"/>
                  </a:lnTo>
                  <a:lnTo>
                    <a:pt x="3659" y="546"/>
                  </a:lnTo>
                  <a:lnTo>
                    <a:pt x="3659" y="568"/>
                  </a:lnTo>
                  <a:lnTo>
                    <a:pt x="3661" y="568"/>
                  </a:lnTo>
                  <a:lnTo>
                    <a:pt x="3690" y="594"/>
                  </a:lnTo>
                  <a:lnTo>
                    <a:pt x="3690" y="596"/>
                  </a:lnTo>
                  <a:lnTo>
                    <a:pt x="3687" y="594"/>
                  </a:lnTo>
                  <a:lnTo>
                    <a:pt x="3644" y="577"/>
                  </a:lnTo>
                  <a:lnTo>
                    <a:pt x="3642" y="577"/>
                  </a:lnTo>
                  <a:lnTo>
                    <a:pt x="3639" y="577"/>
                  </a:lnTo>
                  <a:lnTo>
                    <a:pt x="3622" y="587"/>
                  </a:lnTo>
                  <a:lnTo>
                    <a:pt x="3620" y="587"/>
                  </a:lnTo>
                  <a:lnTo>
                    <a:pt x="3620" y="592"/>
                  </a:lnTo>
                  <a:lnTo>
                    <a:pt x="3626" y="611"/>
                  </a:lnTo>
                  <a:close/>
                  <a:moveTo>
                    <a:pt x="4858" y="850"/>
                  </a:moveTo>
                  <a:lnTo>
                    <a:pt x="4855" y="854"/>
                  </a:lnTo>
                  <a:lnTo>
                    <a:pt x="4845" y="865"/>
                  </a:lnTo>
                  <a:lnTo>
                    <a:pt x="4842" y="867"/>
                  </a:lnTo>
                  <a:lnTo>
                    <a:pt x="4842" y="869"/>
                  </a:lnTo>
                  <a:lnTo>
                    <a:pt x="4851" y="904"/>
                  </a:lnTo>
                  <a:lnTo>
                    <a:pt x="4851" y="908"/>
                  </a:lnTo>
                  <a:lnTo>
                    <a:pt x="4877" y="908"/>
                  </a:lnTo>
                  <a:lnTo>
                    <a:pt x="4877" y="904"/>
                  </a:lnTo>
                  <a:lnTo>
                    <a:pt x="4882" y="871"/>
                  </a:lnTo>
                  <a:lnTo>
                    <a:pt x="4882" y="869"/>
                  </a:lnTo>
                  <a:lnTo>
                    <a:pt x="4879" y="869"/>
                  </a:lnTo>
                  <a:lnTo>
                    <a:pt x="4862" y="854"/>
                  </a:lnTo>
                  <a:lnTo>
                    <a:pt x="4858" y="850"/>
                  </a:lnTo>
                  <a:close/>
                  <a:moveTo>
                    <a:pt x="4884" y="895"/>
                  </a:moveTo>
                  <a:lnTo>
                    <a:pt x="4884" y="943"/>
                  </a:lnTo>
                  <a:lnTo>
                    <a:pt x="4888" y="941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34" y="932"/>
                  </a:lnTo>
                  <a:lnTo>
                    <a:pt x="4975" y="910"/>
                  </a:lnTo>
                  <a:lnTo>
                    <a:pt x="4980" y="908"/>
                  </a:lnTo>
                  <a:lnTo>
                    <a:pt x="4978" y="904"/>
                  </a:lnTo>
                  <a:lnTo>
                    <a:pt x="4964" y="871"/>
                  </a:lnTo>
                  <a:lnTo>
                    <a:pt x="4962" y="869"/>
                  </a:lnTo>
                  <a:lnTo>
                    <a:pt x="4960" y="869"/>
                  </a:lnTo>
                  <a:lnTo>
                    <a:pt x="4934" y="865"/>
                  </a:lnTo>
                  <a:lnTo>
                    <a:pt x="4912" y="860"/>
                  </a:lnTo>
                  <a:lnTo>
                    <a:pt x="4910" y="860"/>
                  </a:lnTo>
                  <a:lnTo>
                    <a:pt x="4908" y="863"/>
                  </a:lnTo>
                  <a:lnTo>
                    <a:pt x="4893" y="884"/>
                  </a:lnTo>
                  <a:lnTo>
                    <a:pt x="4884" y="895"/>
                  </a:lnTo>
                  <a:lnTo>
                    <a:pt x="4884" y="895"/>
                  </a:lnTo>
                  <a:close/>
                  <a:moveTo>
                    <a:pt x="5808" y="236"/>
                  </a:moveTo>
                  <a:lnTo>
                    <a:pt x="5810" y="241"/>
                  </a:lnTo>
                  <a:lnTo>
                    <a:pt x="5814" y="236"/>
                  </a:lnTo>
                  <a:lnTo>
                    <a:pt x="5825" y="225"/>
                  </a:lnTo>
                  <a:lnTo>
                    <a:pt x="5825" y="225"/>
                  </a:lnTo>
                  <a:lnTo>
                    <a:pt x="5825" y="223"/>
                  </a:lnTo>
                  <a:lnTo>
                    <a:pt x="5838" y="158"/>
                  </a:lnTo>
                  <a:lnTo>
                    <a:pt x="5856" y="128"/>
                  </a:lnTo>
                  <a:lnTo>
                    <a:pt x="5856" y="124"/>
                  </a:lnTo>
                  <a:lnTo>
                    <a:pt x="5854" y="124"/>
                  </a:lnTo>
                  <a:lnTo>
                    <a:pt x="5836" y="98"/>
                  </a:lnTo>
                  <a:lnTo>
                    <a:pt x="5836" y="98"/>
                  </a:lnTo>
                  <a:lnTo>
                    <a:pt x="5834" y="98"/>
                  </a:lnTo>
                  <a:lnTo>
                    <a:pt x="5788" y="100"/>
                  </a:lnTo>
                  <a:lnTo>
                    <a:pt x="5786" y="100"/>
                  </a:lnTo>
                  <a:lnTo>
                    <a:pt x="5786" y="102"/>
                  </a:lnTo>
                  <a:lnTo>
                    <a:pt x="5758" y="143"/>
                  </a:lnTo>
                  <a:lnTo>
                    <a:pt x="5758" y="143"/>
                  </a:lnTo>
                  <a:lnTo>
                    <a:pt x="5758" y="178"/>
                  </a:lnTo>
                  <a:lnTo>
                    <a:pt x="5758" y="178"/>
                  </a:lnTo>
                  <a:lnTo>
                    <a:pt x="5808" y="236"/>
                  </a:lnTo>
                  <a:close/>
                  <a:moveTo>
                    <a:pt x="5511" y="746"/>
                  </a:moveTo>
                  <a:lnTo>
                    <a:pt x="5514" y="748"/>
                  </a:lnTo>
                  <a:lnTo>
                    <a:pt x="5516" y="746"/>
                  </a:lnTo>
                  <a:lnTo>
                    <a:pt x="5533" y="737"/>
                  </a:lnTo>
                  <a:lnTo>
                    <a:pt x="5535" y="735"/>
                  </a:lnTo>
                  <a:lnTo>
                    <a:pt x="5535" y="730"/>
                  </a:lnTo>
                  <a:lnTo>
                    <a:pt x="5529" y="711"/>
                  </a:lnTo>
                  <a:lnTo>
                    <a:pt x="5527" y="707"/>
                  </a:lnTo>
                  <a:lnTo>
                    <a:pt x="5525" y="709"/>
                  </a:lnTo>
                  <a:lnTo>
                    <a:pt x="5505" y="713"/>
                  </a:lnTo>
                  <a:lnTo>
                    <a:pt x="5503" y="713"/>
                  </a:lnTo>
                  <a:lnTo>
                    <a:pt x="5503" y="715"/>
                  </a:lnTo>
                  <a:lnTo>
                    <a:pt x="5496" y="730"/>
                  </a:lnTo>
                  <a:lnTo>
                    <a:pt x="5494" y="735"/>
                  </a:lnTo>
                  <a:lnTo>
                    <a:pt x="5498" y="737"/>
                  </a:lnTo>
                  <a:lnTo>
                    <a:pt x="5511" y="746"/>
                  </a:lnTo>
                  <a:close/>
                  <a:moveTo>
                    <a:pt x="4912" y="704"/>
                  </a:moveTo>
                  <a:lnTo>
                    <a:pt x="4912" y="707"/>
                  </a:lnTo>
                  <a:lnTo>
                    <a:pt x="4914" y="707"/>
                  </a:lnTo>
                  <a:lnTo>
                    <a:pt x="5001" y="709"/>
                  </a:lnTo>
                  <a:lnTo>
                    <a:pt x="5004" y="709"/>
                  </a:lnTo>
                  <a:lnTo>
                    <a:pt x="5006" y="707"/>
                  </a:lnTo>
                  <a:lnTo>
                    <a:pt x="5030" y="661"/>
                  </a:lnTo>
                  <a:lnTo>
                    <a:pt x="5030" y="659"/>
                  </a:lnTo>
                  <a:lnTo>
                    <a:pt x="5030" y="657"/>
                  </a:lnTo>
                  <a:lnTo>
                    <a:pt x="5015" y="622"/>
                  </a:lnTo>
                  <a:lnTo>
                    <a:pt x="5010" y="616"/>
                  </a:lnTo>
                  <a:lnTo>
                    <a:pt x="5006" y="620"/>
                  </a:lnTo>
                  <a:lnTo>
                    <a:pt x="4991" y="639"/>
                  </a:lnTo>
                  <a:lnTo>
                    <a:pt x="4956" y="635"/>
                  </a:lnTo>
                  <a:lnTo>
                    <a:pt x="4954" y="635"/>
                  </a:lnTo>
                  <a:lnTo>
                    <a:pt x="4951" y="637"/>
                  </a:lnTo>
                  <a:lnTo>
                    <a:pt x="4945" y="652"/>
                  </a:lnTo>
                  <a:lnTo>
                    <a:pt x="4923" y="652"/>
                  </a:lnTo>
                  <a:lnTo>
                    <a:pt x="4923" y="657"/>
                  </a:lnTo>
                  <a:lnTo>
                    <a:pt x="4921" y="672"/>
                  </a:lnTo>
                  <a:lnTo>
                    <a:pt x="4901" y="670"/>
                  </a:lnTo>
                  <a:lnTo>
                    <a:pt x="4895" y="670"/>
                  </a:lnTo>
                  <a:lnTo>
                    <a:pt x="4897" y="676"/>
                  </a:lnTo>
                  <a:lnTo>
                    <a:pt x="4912" y="704"/>
                  </a:lnTo>
                  <a:close/>
                  <a:moveTo>
                    <a:pt x="4694" y="800"/>
                  </a:moveTo>
                  <a:lnTo>
                    <a:pt x="4696" y="800"/>
                  </a:lnTo>
                  <a:lnTo>
                    <a:pt x="4696" y="802"/>
                  </a:lnTo>
                  <a:lnTo>
                    <a:pt x="4714" y="824"/>
                  </a:lnTo>
                  <a:lnTo>
                    <a:pt x="4720" y="850"/>
                  </a:lnTo>
                  <a:lnTo>
                    <a:pt x="4720" y="852"/>
                  </a:lnTo>
                  <a:lnTo>
                    <a:pt x="4723" y="852"/>
                  </a:lnTo>
                  <a:lnTo>
                    <a:pt x="4760" y="863"/>
                  </a:lnTo>
                  <a:lnTo>
                    <a:pt x="4762" y="863"/>
                  </a:lnTo>
                  <a:lnTo>
                    <a:pt x="4762" y="863"/>
                  </a:lnTo>
                  <a:lnTo>
                    <a:pt x="4797" y="860"/>
                  </a:lnTo>
                  <a:lnTo>
                    <a:pt x="4801" y="858"/>
                  </a:lnTo>
                  <a:lnTo>
                    <a:pt x="4801" y="854"/>
                  </a:lnTo>
                  <a:lnTo>
                    <a:pt x="4799" y="824"/>
                  </a:lnTo>
                  <a:lnTo>
                    <a:pt x="4818" y="826"/>
                  </a:lnTo>
                  <a:lnTo>
                    <a:pt x="4821" y="826"/>
                  </a:lnTo>
                  <a:lnTo>
                    <a:pt x="4823" y="824"/>
                  </a:lnTo>
                  <a:lnTo>
                    <a:pt x="4840" y="795"/>
                  </a:lnTo>
                  <a:lnTo>
                    <a:pt x="4860" y="800"/>
                  </a:lnTo>
                  <a:lnTo>
                    <a:pt x="4862" y="800"/>
                  </a:lnTo>
                  <a:lnTo>
                    <a:pt x="4864" y="798"/>
                  </a:lnTo>
                  <a:lnTo>
                    <a:pt x="4879" y="780"/>
                  </a:lnTo>
                  <a:lnTo>
                    <a:pt x="4882" y="778"/>
                  </a:lnTo>
                  <a:lnTo>
                    <a:pt x="4879" y="776"/>
                  </a:lnTo>
                  <a:lnTo>
                    <a:pt x="4864" y="761"/>
                  </a:lnTo>
                  <a:lnTo>
                    <a:pt x="4862" y="759"/>
                  </a:lnTo>
                  <a:lnTo>
                    <a:pt x="4862" y="759"/>
                  </a:lnTo>
                  <a:lnTo>
                    <a:pt x="4829" y="750"/>
                  </a:lnTo>
                  <a:lnTo>
                    <a:pt x="4808" y="724"/>
                  </a:lnTo>
                  <a:lnTo>
                    <a:pt x="4821" y="722"/>
                  </a:lnTo>
                  <a:lnTo>
                    <a:pt x="4838" y="750"/>
                  </a:lnTo>
                  <a:lnTo>
                    <a:pt x="4840" y="750"/>
                  </a:lnTo>
                  <a:lnTo>
                    <a:pt x="4840" y="750"/>
                  </a:lnTo>
                  <a:lnTo>
                    <a:pt x="4879" y="759"/>
                  </a:lnTo>
                  <a:lnTo>
                    <a:pt x="4884" y="759"/>
                  </a:lnTo>
                  <a:lnTo>
                    <a:pt x="4884" y="754"/>
                  </a:lnTo>
                  <a:lnTo>
                    <a:pt x="4884" y="711"/>
                  </a:lnTo>
                  <a:lnTo>
                    <a:pt x="4884" y="711"/>
                  </a:lnTo>
                  <a:lnTo>
                    <a:pt x="4884" y="709"/>
                  </a:lnTo>
                  <a:lnTo>
                    <a:pt x="4871" y="689"/>
                  </a:lnTo>
                  <a:lnTo>
                    <a:pt x="4871" y="687"/>
                  </a:lnTo>
                  <a:lnTo>
                    <a:pt x="4869" y="687"/>
                  </a:lnTo>
                  <a:lnTo>
                    <a:pt x="4825" y="683"/>
                  </a:lnTo>
                  <a:lnTo>
                    <a:pt x="4823" y="683"/>
                  </a:lnTo>
                  <a:lnTo>
                    <a:pt x="4821" y="685"/>
                  </a:lnTo>
                  <a:lnTo>
                    <a:pt x="4801" y="700"/>
                  </a:lnTo>
                  <a:lnTo>
                    <a:pt x="4766" y="694"/>
                  </a:lnTo>
                  <a:lnTo>
                    <a:pt x="4762" y="694"/>
                  </a:lnTo>
                  <a:lnTo>
                    <a:pt x="4762" y="698"/>
                  </a:lnTo>
                  <a:lnTo>
                    <a:pt x="4757" y="722"/>
                  </a:lnTo>
                  <a:lnTo>
                    <a:pt x="4757" y="724"/>
                  </a:lnTo>
                  <a:lnTo>
                    <a:pt x="4760" y="724"/>
                  </a:lnTo>
                  <a:lnTo>
                    <a:pt x="4777" y="743"/>
                  </a:lnTo>
                  <a:lnTo>
                    <a:pt x="4773" y="752"/>
                  </a:lnTo>
                  <a:lnTo>
                    <a:pt x="4742" y="726"/>
                  </a:lnTo>
                  <a:lnTo>
                    <a:pt x="4740" y="726"/>
                  </a:lnTo>
                  <a:lnTo>
                    <a:pt x="4738" y="726"/>
                  </a:lnTo>
                  <a:lnTo>
                    <a:pt x="4699" y="728"/>
                  </a:lnTo>
                  <a:lnTo>
                    <a:pt x="4694" y="730"/>
                  </a:lnTo>
                  <a:lnTo>
                    <a:pt x="4694" y="733"/>
                  </a:lnTo>
                  <a:lnTo>
                    <a:pt x="4692" y="765"/>
                  </a:lnTo>
                  <a:lnTo>
                    <a:pt x="4692" y="765"/>
                  </a:lnTo>
                  <a:lnTo>
                    <a:pt x="4692" y="767"/>
                  </a:lnTo>
                  <a:lnTo>
                    <a:pt x="4694" y="800"/>
                  </a:lnTo>
                  <a:close/>
                  <a:moveTo>
                    <a:pt x="3720" y="915"/>
                  </a:moveTo>
                  <a:lnTo>
                    <a:pt x="3722" y="915"/>
                  </a:lnTo>
                  <a:lnTo>
                    <a:pt x="3735" y="906"/>
                  </a:lnTo>
                  <a:lnTo>
                    <a:pt x="3737" y="904"/>
                  </a:lnTo>
                  <a:lnTo>
                    <a:pt x="3737" y="902"/>
                  </a:lnTo>
                  <a:lnTo>
                    <a:pt x="3729" y="884"/>
                  </a:lnTo>
                  <a:lnTo>
                    <a:pt x="3727" y="880"/>
                  </a:lnTo>
                  <a:lnTo>
                    <a:pt x="3722" y="882"/>
                  </a:lnTo>
                  <a:lnTo>
                    <a:pt x="3703" y="895"/>
                  </a:lnTo>
                  <a:lnTo>
                    <a:pt x="3696" y="897"/>
                  </a:lnTo>
                  <a:lnTo>
                    <a:pt x="3703" y="902"/>
                  </a:lnTo>
                  <a:lnTo>
                    <a:pt x="3718" y="912"/>
                  </a:lnTo>
                  <a:lnTo>
                    <a:pt x="3720" y="915"/>
                  </a:lnTo>
                  <a:close/>
                  <a:moveTo>
                    <a:pt x="3692" y="923"/>
                  </a:moveTo>
                  <a:lnTo>
                    <a:pt x="3690" y="928"/>
                  </a:lnTo>
                  <a:lnTo>
                    <a:pt x="3683" y="943"/>
                  </a:lnTo>
                  <a:lnTo>
                    <a:pt x="3685" y="945"/>
                  </a:lnTo>
                  <a:lnTo>
                    <a:pt x="3692" y="954"/>
                  </a:lnTo>
                  <a:lnTo>
                    <a:pt x="3694" y="958"/>
                  </a:lnTo>
                  <a:lnTo>
                    <a:pt x="3698" y="954"/>
                  </a:lnTo>
                  <a:lnTo>
                    <a:pt x="3707" y="945"/>
                  </a:lnTo>
                  <a:lnTo>
                    <a:pt x="3711" y="943"/>
                  </a:lnTo>
                  <a:lnTo>
                    <a:pt x="3707" y="938"/>
                  </a:lnTo>
                  <a:lnTo>
                    <a:pt x="3696" y="928"/>
                  </a:lnTo>
                  <a:lnTo>
                    <a:pt x="3692" y="923"/>
                  </a:lnTo>
                  <a:close/>
                  <a:moveTo>
                    <a:pt x="4655" y="824"/>
                  </a:moveTo>
                  <a:lnTo>
                    <a:pt x="4655" y="824"/>
                  </a:lnTo>
                  <a:lnTo>
                    <a:pt x="4655" y="824"/>
                  </a:lnTo>
                  <a:lnTo>
                    <a:pt x="4679" y="852"/>
                  </a:lnTo>
                  <a:lnTo>
                    <a:pt x="4681" y="854"/>
                  </a:lnTo>
                  <a:lnTo>
                    <a:pt x="4683" y="852"/>
                  </a:lnTo>
                  <a:lnTo>
                    <a:pt x="4699" y="847"/>
                  </a:lnTo>
                  <a:lnTo>
                    <a:pt x="4703" y="845"/>
                  </a:lnTo>
                  <a:lnTo>
                    <a:pt x="4701" y="841"/>
                  </a:lnTo>
                  <a:lnTo>
                    <a:pt x="4683" y="808"/>
                  </a:lnTo>
                  <a:lnTo>
                    <a:pt x="4683" y="808"/>
                  </a:lnTo>
                  <a:lnTo>
                    <a:pt x="4681" y="808"/>
                  </a:lnTo>
                  <a:lnTo>
                    <a:pt x="4655" y="793"/>
                  </a:lnTo>
                  <a:lnTo>
                    <a:pt x="4646" y="787"/>
                  </a:lnTo>
                  <a:lnTo>
                    <a:pt x="4648" y="798"/>
                  </a:lnTo>
                  <a:lnTo>
                    <a:pt x="4655" y="824"/>
                  </a:lnTo>
                  <a:close/>
                  <a:moveTo>
                    <a:pt x="3670" y="479"/>
                  </a:moveTo>
                  <a:lnTo>
                    <a:pt x="3676" y="479"/>
                  </a:lnTo>
                  <a:lnTo>
                    <a:pt x="3674" y="472"/>
                  </a:lnTo>
                  <a:lnTo>
                    <a:pt x="3663" y="442"/>
                  </a:lnTo>
                  <a:lnTo>
                    <a:pt x="3663" y="438"/>
                  </a:lnTo>
                  <a:lnTo>
                    <a:pt x="3661" y="438"/>
                  </a:lnTo>
                  <a:lnTo>
                    <a:pt x="3631" y="440"/>
                  </a:lnTo>
                  <a:lnTo>
                    <a:pt x="3626" y="440"/>
                  </a:lnTo>
                  <a:lnTo>
                    <a:pt x="3626" y="442"/>
                  </a:lnTo>
                  <a:lnTo>
                    <a:pt x="3624" y="466"/>
                  </a:lnTo>
                  <a:lnTo>
                    <a:pt x="3622" y="470"/>
                  </a:lnTo>
                  <a:lnTo>
                    <a:pt x="3626" y="470"/>
                  </a:lnTo>
                  <a:lnTo>
                    <a:pt x="3670" y="479"/>
                  </a:lnTo>
                  <a:close/>
                  <a:moveTo>
                    <a:pt x="3206" y="371"/>
                  </a:moveTo>
                  <a:lnTo>
                    <a:pt x="3201" y="368"/>
                  </a:lnTo>
                  <a:lnTo>
                    <a:pt x="3188" y="355"/>
                  </a:lnTo>
                  <a:lnTo>
                    <a:pt x="3186" y="353"/>
                  </a:lnTo>
                  <a:lnTo>
                    <a:pt x="3182" y="355"/>
                  </a:lnTo>
                  <a:lnTo>
                    <a:pt x="3169" y="373"/>
                  </a:lnTo>
                  <a:lnTo>
                    <a:pt x="3166" y="377"/>
                  </a:lnTo>
                  <a:lnTo>
                    <a:pt x="3171" y="379"/>
                  </a:lnTo>
                  <a:lnTo>
                    <a:pt x="3186" y="386"/>
                  </a:lnTo>
                  <a:lnTo>
                    <a:pt x="3190" y="388"/>
                  </a:lnTo>
                  <a:lnTo>
                    <a:pt x="3193" y="386"/>
                  </a:lnTo>
                  <a:lnTo>
                    <a:pt x="3201" y="373"/>
                  </a:lnTo>
                  <a:lnTo>
                    <a:pt x="3206" y="371"/>
                  </a:lnTo>
                  <a:close/>
                  <a:moveTo>
                    <a:pt x="4143" y="1118"/>
                  </a:moveTo>
                  <a:lnTo>
                    <a:pt x="4143" y="1123"/>
                  </a:lnTo>
                  <a:lnTo>
                    <a:pt x="4132" y="1146"/>
                  </a:lnTo>
                  <a:lnTo>
                    <a:pt x="4130" y="1151"/>
                  </a:lnTo>
                  <a:lnTo>
                    <a:pt x="4134" y="1151"/>
                  </a:lnTo>
                  <a:lnTo>
                    <a:pt x="4160" y="1172"/>
                  </a:lnTo>
                  <a:lnTo>
                    <a:pt x="4162" y="1175"/>
                  </a:lnTo>
                  <a:lnTo>
                    <a:pt x="4165" y="1172"/>
                  </a:lnTo>
                  <a:lnTo>
                    <a:pt x="4178" y="1153"/>
                  </a:lnTo>
                  <a:lnTo>
                    <a:pt x="4178" y="1153"/>
                  </a:lnTo>
                  <a:lnTo>
                    <a:pt x="4178" y="1151"/>
                  </a:lnTo>
                  <a:lnTo>
                    <a:pt x="4182" y="1136"/>
                  </a:lnTo>
                  <a:lnTo>
                    <a:pt x="4182" y="1133"/>
                  </a:lnTo>
                  <a:lnTo>
                    <a:pt x="4180" y="1131"/>
                  </a:lnTo>
                  <a:lnTo>
                    <a:pt x="4167" y="1123"/>
                  </a:lnTo>
                  <a:lnTo>
                    <a:pt x="4165" y="1123"/>
                  </a:lnTo>
                  <a:lnTo>
                    <a:pt x="4165" y="1120"/>
                  </a:lnTo>
                  <a:lnTo>
                    <a:pt x="4147" y="1118"/>
                  </a:lnTo>
                  <a:lnTo>
                    <a:pt x="4143" y="1118"/>
                  </a:lnTo>
                  <a:close/>
                  <a:moveTo>
                    <a:pt x="3790" y="787"/>
                  </a:moveTo>
                  <a:lnTo>
                    <a:pt x="3792" y="787"/>
                  </a:lnTo>
                  <a:lnTo>
                    <a:pt x="3801" y="821"/>
                  </a:lnTo>
                  <a:lnTo>
                    <a:pt x="3803" y="828"/>
                  </a:lnTo>
                  <a:lnTo>
                    <a:pt x="3807" y="824"/>
                  </a:lnTo>
                  <a:lnTo>
                    <a:pt x="3846" y="791"/>
                  </a:lnTo>
                  <a:lnTo>
                    <a:pt x="3886" y="789"/>
                  </a:lnTo>
                  <a:lnTo>
                    <a:pt x="3888" y="789"/>
                  </a:lnTo>
                  <a:lnTo>
                    <a:pt x="3912" y="767"/>
                  </a:lnTo>
                  <a:lnTo>
                    <a:pt x="3912" y="765"/>
                  </a:lnTo>
                  <a:lnTo>
                    <a:pt x="3912" y="763"/>
                  </a:lnTo>
                  <a:lnTo>
                    <a:pt x="3914" y="713"/>
                  </a:lnTo>
                  <a:lnTo>
                    <a:pt x="3914" y="711"/>
                  </a:lnTo>
                  <a:lnTo>
                    <a:pt x="3914" y="711"/>
                  </a:lnTo>
                  <a:lnTo>
                    <a:pt x="3890" y="681"/>
                  </a:lnTo>
                  <a:lnTo>
                    <a:pt x="3888" y="676"/>
                  </a:lnTo>
                  <a:lnTo>
                    <a:pt x="3883" y="681"/>
                  </a:lnTo>
                  <a:lnTo>
                    <a:pt x="3868" y="696"/>
                  </a:lnTo>
                  <a:lnTo>
                    <a:pt x="3862" y="689"/>
                  </a:lnTo>
                  <a:lnTo>
                    <a:pt x="3862" y="661"/>
                  </a:lnTo>
                  <a:lnTo>
                    <a:pt x="3864" y="655"/>
                  </a:lnTo>
                  <a:lnTo>
                    <a:pt x="3855" y="657"/>
                  </a:lnTo>
                  <a:lnTo>
                    <a:pt x="3822" y="676"/>
                  </a:lnTo>
                  <a:lnTo>
                    <a:pt x="3820" y="676"/>
                  </a:lnTo>
                  <a:lnTo>
                    <a:pt x="3820" y="678"/>
                  </a:lnTo>
                  <a:lnTo>
                    <a:pt x="3816" y="741"/>
                  </a:lnTo>
                  <a:lnTo>
                    <a:pt x="3792" y="785"/>
                  </a:lnTo>
                  <a:lnTo>
                    <a:pt x="3790" y="787"/>
                  </a:lnTo>
                  <a:close/>
                  <a:moveTo>
                    <a:pt x="3940" y="789"/>
                  </a:moveTo>
                  <a:lnTo>
                    <a:pt x="3942" y="791"/>
                  </a:lnTo>
                  <a:lnTo>
                    <a:pt x="3945" y="791"/>
                  </a:lnTo>
                  <a:lnTo>
                    <a:pt x="3975" y="800"/>
                  </a:lnTo>
                  <a:lnTo>
                    <a:pt x="3982" y="800"/>
                  </a:lnTo>
                  <a:lnTo>
                    <a:pt x="3979" y="795"/>
                  </a:lnTo>
                  <a:lnTo>
                    <a:pt x="3979" y="782"/>
                  </a:lnTo>
                  <a:lnTo>
                    <a:pt x="3979" y="780"/>
                  </a:lnTo>
                  <a:lnTo>
                    <a:pt x="3977" y="780"/>
                  </a:lnTo>
                  <a:lnTo>
                    <a:pt x="3947" y="761"/>
                  </a:lnTo>
                  <a:lnTo>
                    <a:pt x="3940" y="759"/>
                  </a:lnTo>
                  <a:lnTo>
                    <a:pt x="3940" y="763"/>
                  </a:lnTo>
                  <a:lnTo>
                    <a:pt x="3938" y="769"/>
                  </a:lnTo>
                  <a:lnTo>
                    <a:pt x="3938" y="772"/>
                  </a:lnTo>
                  <a:lnTo>
                    <a:pt x="3938" y="772"/>
                  </a:lnTo>
                  <a:lnTo>
                    <a:pt x="3940" y="789"/>
                  </a:lnTo>
                  <a:close/>
                  <a:moveTo>
                    <a:pt x="2968" y="353"/>
                  </a:moveTo>
                  <a:lnTo>
                    <a:pt x="2968" y="355"/>
                  </a:lnTo>
                  <a:lnTo>
                    <a:pt x="2964" y="368"/>
                  </a:lnTo>
                  <a:lnTo>
                    <a:pt x="2962" y="373"/>
                  </a:lnTo>
                  <a:lnTo>
                    <a:pt x="2966" y="373"/>
                  </a:lnTo>
                  <a:lnTo>
                    <a:pt x="2979" y="381"/>
                  </a:lnTo>
                  <a:lnTo>
                    <a:pt x="2986" y="386"/>
                  </a:lnTo>
                  <a:lnTo>
                    <a:pt x="2986" y="377"/>
                  </a:lnTo>
                  <a:lnTo>
                    <a:pt x="2986" y="362"/>
                  </a:lnTo>
                  <a:lnTo>
                    <a:pt x="2986" y="358"/>
                  </a:lnTo>
                  <a:lnTo>
                    <a:pt x="2983" y="358"/>
                  </a:lnTo>
                  <a:lnTo>
                    <a:pt x="2973" y="353"/>
                  </a:lnTo>
                  <a:lnTo>
                    <a:pt x="2968" y="353"/>
                  </a:lnTo>
                  <a:close/>
                  <a:moveTo>
                    <a:pt x="6854" y="2468"/>
                  </a:moveTo>
                  <a:lnTo>
                    <a:pt x="6852" y="2470"/>
                  </a:lnTo>
                  <a:lnTo>
                    <a:pt x="6845" y="2488"/>
                  </a:lnTo>
                  <a:lnTo>
                    <a:pt x="6843" y="2490"/>
                  </a:lnTo>
                  <a:lnTo>
                    <a:pt x="6845" y="2492"/>
                  </a:lnTo>
                  <a:lnTo>
                    <a:pt x="6854" y="2507"/>
                  </a:lnTo>
                  <a:lnTo>
                    <a:pt x="6856" y="2509"/>
                  </a:lnTo>
                  <a:lnTo>
                    <a:pt x="6858" y="2509"/>
                  </a:lnTo>
                  <a:lnTo>
                    <a:pt x="6871" y="2505"/>
                  </a:lnTo>
                  <a:lnTo>
                    <a:pt x="6874" y="2503"/>
                  </a:lnTo>
                  <a:lnTo>
                    <a:pt x="6874" y="2501"/>
                  </a:lnTo>
                  <a:lnTo>
                    <a:pt x="6878" y="2477"/>
                  </a:lnTo>
                  <a:lnTo>
                    <a:pt x="6878" y="2473"/>
                  </a:lnTo>
                  <a:lnTo>
                    <a:pt x="6874" y="2473"/>
                  </a:lnTo>
                  <a:lnTo>
                    <a:pt x="6858" y="2468"/>
                  </a:lnTo>
                  <a:lnTo>
                    <a:pt x="6854" y="2468"/>
                  </a:lnTo>
                  <a:close/>
                  <a:moveTo>
                    <a:pt x="6808" y="2087"/>
                  </a:moveTo>
                  <a:lnTo>
                    <a:pt x="6806" y="2085"/>
                  </a:lnTo>
                  <a:lnTo>
                    <a:pt x="6802" y="2087"/>
                  </a:lnTo>
                  <a:lnTo>
                    <a:pt x="6795" y="2093"/>
                  </a:lnTo>
                  <a:lnTo>
                    <a:pt x="6793" y="2093"/>
                  </a:lnTo>
                  <a:lnTo>
                    <a:pt x="6793" y="2096"/>
                  </a:lnTo>
                  <a:lnTo>
                    <a:pt x="6791" y="2109"/>
                  </a:lnTo>
                  <a:lnTo>
                    <a:pt x="6791" y="2113"/>
                  </a:lnTo>
                  <a:lnTo>
                    <a:pt x="6793" y="2113"/>
                  </a:lnTo>
                  <a:lnTo>
                    <a:pt x="6813" y="2119"/>
                  </a:lnTo>
                  <a:lnTo>
                    <a:pt x="6815" y="2122"/>
                  </a:lnTo>
                  <a:lnTo>
                    <a:pt x="6817" y="2119"/>
                  </a:lnTo>
                  <a:lnTo>
                    <a:pt x="6828" y="2109"/>
                  </a:lnTo>
                  <a:lnTo>
                    <a:pt x="6830" y="2104"/>
                  </a:lnTo>
                  <a:lnTo>
                    <a:pt x="6826" y="2102"/>
                  </a:lnTo>
                  <a:lnTo>
                    <a:pt x="6808" y="2087"/>
                  </a:lnTo>
                  <a:close/>
                  <a:moveTo>
                    <a:pt x="6860" y="2392"/>
                  </a:moveTo>
                  <a:lnTo>
                    <a:pt x="6860" y="2390"/>
                  </a:lnTo>
                  <a:lnTo>
                    <a:pt x="6858" y="2390"/>
                  </a:lnTo>
                  <a:lnTo>
                    <a:pt x="6847" y="2388"/>
                  </a:lnTo>
                  <a:lnTo>
                    <a:pt x="6845" y="2388"/>
                  </a:lnTo>
                  <a:lnTo>
                    <a:pt x="6843" y="2390"/>
                  </a:lnTo>
                  <a:lnTo>
                    <a:pt x="6834" y="2408"/>
                  </a:lnTo>
                  <a:lnTo>
                    <a:pt x="6832" y="2410"/>
                  </a:lnTo>
                  <a:lnTo>
                    <a:pt x="6834" y="2412"/>
                  </a:lnTo>
                  <a:lnTo>
                    <a:pt x="6847" y="2431"/>
                  </a:lnTo>
                  <a:lnTo>
                    <a:pt x="6850" y="2436"/>
                  </a:lnTo>
                  <a:lnTo>
                    <a:pt x="6854" y="2434"/>
                  </a:lnTo>
                  <a:lnTo>
                    <a:pt x="6871" y="2416"/>
                  </a:lnTo>
                  <a:lnTo>
                    <a:pt x="6874" y="2414"/>
                  </a:lnTo>
                  <a:lnTo>
                    <a:pt x="6871" y="2412"/>
                  </a:lnTo>
                  <a:lnTo>
                    <a:pt x="6860" y="2392"/>
                  </a:lnTo>
                  <a:close/>
                  <a:moveTo>
                    <a:pt x="6826" y="2197"/>
                  </a:moveTo>
                  <a:lnTo>
                    <a:pt x="6826" y="2193"/>
                  </a:lnTo>
                  <a:lnTo>
                    <a:pt x="6821" y="2141"/>
                  </a:lnTo>
                  <a:lnTo>
                    <a:pt x="6821" y="2141"/>
                  </a:lnTo>
                  <a:lnTo>
                    <a:pt x="6819" y="2139"/>
                  </a:lnTo>
                  <a:lnTo>
                    <a:pt x="6804" y="2126"/>
                  </a:lnTo>
                  <a:lnTo>
                    <a:pt x="6804" y="2124"/>
                  </a:lnTo>
                  <a:lnTo>
                    <a:pt x="6804" y="2124"/>
                  </a:lnTo>
                  <a:lnTo>
                    <a:pt x="6786" y="2119"/>
                  </a:lnTo>
                  <a:lnTo>
                    <a:pt x="6782" y="2119"/>
                  </a:lnTo>
                  <a:lnTo>
                    <a:pt x="6782" y="2124"/>
                  </a:lnTo>
                  <a:lnTo>
                    <a:pt x="6778" y="2176"/>
                  </a:lnTo>
                  <a:lnTo>
                    <a:pt x="6778" y="2178"/>
                  </a:lnTo>
                  <a:lnTo>
                    <a:pt x="6778" y="2178"/>
                  </a:lnTo>
                  <a:lnTo>
                    <a:pt x="6799" y="2206"/>
                  </a:lnTo>
                  <a:lnTo>
                    <a:pt x="6802" y="2208"/>
                  </a:lnTo>
                  <a:lnTo>
                    <a:pt x="6804" y="2206"/>
                  </a:lnTo>
                  <a:lnTo>
                    <a:pt x="6823" y="2197"/>
                  </a:lnTo>
                  <a:lnTo>
                    <a:pt x="6826" y="2197"/>
                  </a:lnTo>
                  <a:close/>
                  <a:moveTo>
                    <a:pt x="6817" y="2236"/>
                  </a:moveTo>
                  <a:lnTo>
                    <a:pt x="6813" y="2234"/>
                  </a:lnTo>
                  <a:lnTo>
                    <a:pt x="6810" y="2239"/>
                  </a:lnTo>
                  <a:lnTo>
                    <a:pt x="6808" y="2258"/>
                  </a:lnTo>
                  <a:lnTo>
                    <a:pt x="6808" y="2260"/>
                  </a:lnTo>
                  <a:lnTo>
                    <a:pt x="6808" y="2260"/>
                  </a:lnTo>
                  <a:lnTo>
                    <a:pt x="6817" y="2280"/>
                  </a:lnTo>
                  <a:lnTo>
                    <a:pt x="6819" y="2284"/>
                  </a:lnTo>
                  <a:lnTo>
                    <a:pt x="6823" y="2282"/>
                  </a:lnTo>
                  <a:lnTo>
                    <a:pt x="6847" y="2271"/>
                  </a:lnTo>
                  <a:lnTo>
                    <a:pt x="6850" y="2271"/>
                  </a:lnTo>
                  <a:lnTo>
                    <a:pt x="6850" y="2269"/>
                  </a:lnTo>
                  <a:lnTo>
                    <a:pt x="6854" y="2256"/>
                  </a:lnTo>
                  <a:lnTo>
                    <a:pt x="6854" y="2252"/>
                  </a:lnTo>
                  <a:lnTo>
                    <a:pt x="6852" y="2252"/>
                  </a:lnTo>
                  <a:lnTo>
                    <a:pt x="6817" y="2236"/>
                  </a:lnTo>
                  <a:close/>
                  <a:moveTo>
                    <a:pt x="1608" y="1010"/>
                  </a:moveTo>
                  <a:lnTo>
                    <a:pt x="1606" y="1008"/>
                  </a:lnTo>
                  <a:lnTo>
                    <a:pt x="1597" y="1001"/>
                  </a:lnTo>
                  <a:lnTo>
                    <a:pt x="1595" y="999"/>
                  </a:lnTo>
                  <a:lnTo>
                    <a:pt x="1593" y="1001"/>
                  </a:lnTo>
                  <a:lnTo>
                    <a:pt x="1584" y="1012"/>
                  </a:lnTo>
                  <a:lnTo>
                    <a:pt x="1584" y="1012"/>
                  </a:lnTo>
                  <a:lnTo>
                    <a:pt x="1584" y="1014"/>
                  </a:lnTo>
                  <a:lnTo>
                    <a:pt x="1582" y="1023"/>
                  </a:lnTo>
                  <a:lnTo>
                    <a:pt x="1582" y="1025"/>
                  </a:lnTo>
                  <a:lnTo>
                    <a:pt x="1584" y="1027"/>
                  </a:lnTo>
                  <a:lnTo>
                    <a:pt x="1593" y="1036"/>
                  </a:lnTo>
                  <a:lnTo>
                    <a:pt x="1595" y="1038"/>
                  </a:lnTo>
                  <a:lnTo>
                    <a:pt x="1597" y="1036"/>
                  </a:lnTo>
                  <a:lnTo>
                    <a:pt x="1610" y="1029"/>
                  </a:lnTo>
                  <a:lnTo>
                    <a:pt x="1613" y="1027"/>
                  </a:lnTo>
                  <a:lnTo>
                    <a:pt x="1613" y="1025"/>
                  </a:lnTo>
                  <a:lnTo>
                    <a:pt x="1608" y="1010"/>
                  </a:lnTo>
                  <a:lnTo>
                    <a:pt x="1608" y="1010"/>
                  </a:lnTo>
                  <a:close/>
                  <a:moveTo>
                    <a:pt x="4119" y="1181"/>
                  </a:moveTo>
                  <a:lnTo>
                    <a:pt x="4117" y="1181"/>
                  </a:lnTo>
                  <a:lnTo>
                    <a:pt x="4097" y="1181"/>
                  </a:lnTo>
                  <a:lnTo>
                    <a:pt x="4095" y="1181"/>
                  </a:lnTo>
                  <a:lnTo>
                    <a:pt x="4095" y="1183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4" y="1198"/>
                  </a:lnTo>
                  <a:lnTo>
                    <a:pt x="4080" y="1209"/>
                  </a:lnTo>
                  <a:lnTo>
                    <a:pt x="4080" y="1211"/>
                  </a:lnTo>
                  <a:lnTo>
                    <a:pt x="4082" y="1214"/>
                  </a:lnTo>
                  <a:lnTo>
                    <a:pt x="4091" y="1222"/>
                  </a:lnTo>
                  <a:lnTo>
                    <a:pt x="4093" y="1227"/>
                  </a:lnTo>
                  <a:lnTo>
                    <a:pt x="4095" y="1224"/>
                  </a:lnTo>
                  <a:lnTo>
                    <a:pt x="4125" y="1207"/>
                  </a:lnTo>
                  <a:lnTo>
                    <a:pt x="4128" y="1205"/>
                  </a:lnTo>
                  <a:lnTo>
                    <a:pt x="4125" y="1201"/>
                  </a:lnTo>
                  <a:lnTo>
                    <a:pt x="4119" y="1183"/>
                  </a:lnTo>
                  <a:lnTo>
                    <a:pt x="4119" y="1181"/>
                  </a:lnTo>
                  <a:close/>
                  <a:moveTo>
                    <a:pt x="6490" y="1261"/>
                  </a:moveTo>
                  <a:lnTo>
                    <a:pt x="6490" y="1261"/>
                  </a:lnTo>
                  <a:lnTo>
                    <a:pt x="6473" y="1257"/>
                  </a:lnTo>
                  <a:lnTo>
                    <a:pt x="6468" y="1257"/>
                  </a:lnTo>
                  <a:lnTo>
                    <a:pt x="6468" y="1261"/>
                  </a:lnTo>
                  <a:lnTo>
                    <a:pt x="6455" y="1300"/>
                  </a:lnTo>
                  <a:lnTo>
                    <a:pt x="6455" y="1302"/>
                  </a:lnTo>
                  <a:lnTo>
                    <a:pt x="6455" y="1305"/>
                  </a:lnTo>
                  <a:lnTo>
                    <a:pt x="6505" y="1361"/>
                  </a:lnTo>
                  <a:lnTo>
                    <a:pt x="6512" y="1367"/>
                  </a:lnTo>
                  <a:lnTo>
                    <a:pt x="6514" y="1359"/>
                  </a:lnTo>
                  <a:lnTo>
                    <a:pt x="6520" y="1276"/>
                  </a:lnTo>
                  <a:lnTo>
                    <a:pt x="6520" y="1274"/>
                  </a:lnTo>
                  <a:lnTo>
                    <a:pt x="6518" y="1272"/>
                  </a:lnTo>
                  <a:lnTo>
                    <a:pt x="6490" y="1261"/>
                  </a:lnTo>
                  <a:lnTo>
                    <a:pt x="6490" y="1261"/>
                  </a:lnTo>
                  <a:close/>
                  <a:moveTo>
                    <a:pt x="6880" y="1404"/>
                  </a:moveTo>
                  <a:lnTo>
                    <a:pt x="6880" y="1402"/>
                  </a:lnTo>
                  <a:lnTo>
                    <a:pt x="6878" y="1402"/>
                  </a:lnTo>
                  <a:lnTo>
                    <a:pt x="6841" y="1398"/>
                  </a:lnTo>
                  <a:lnTo>
                    <a:pt x="6839" y="1398"/>
                  </a:lnTo>
                  <a:lnTo>
                    <a:pt x="6839" y="1398"/>
                  </a:lnTo>
                  <a:lnTo>
                    <a:pt x="6804" y="1406"/>
                  </a:lnTo>
                  <a:lnTo>
                    <a:pt x="6797" y="1406"/>
                  </a:lnTo>
                  <a:lnTo>
                    <a:pt x="6802" y="1413"/>
                  </a:lnTo>
                  <a:lnTo>
                    <a:pt x="6815" y="1432"/>
                  </a:lnTo>
                  <a:lnTo>
                    <a:pt x="6815" y="1435"/>
                  </a:lnTo>
                  <a:lnTo>
                    <a:pt x="6817" y="1435"/>
                  </a:lnTo>
                  <a:lnTo>
                    <a:pt x="6867" y="1441"/>
                  </a:lnTo>
                  <a:lnTo>
                    <a:pt x="6869" y="1443"/>
                  </a:lnTo>
                  <a:lnTo>
                    <a:pt x="6871" y="1441"/>
                  </a:lnTo>
                  <a:lnTo>
                    <a:pt x="6891" y="1430"/>
                  </a:lnTo>
                  <a:lnTo>
                    <a:pt x="6895" y="1428"/>
                  </a:lnTo>
                  <a:lnTo>
                    <a:pt x="6893" y="1426"/>
                  </a:lnTo>
                  <a:lnTo>
                    <a:pt x="6880" y="1404"/>
                  </a:lnTo>
                  <a:close/>
                  <a:moveTo>
                    <a:pt x="6765" y="2104"/>
                  </a:moveTo>
                  <a:lnTo>
                    <a:pt x="6760" y="2106"/>
                  </a:lnTo>
                  <a:lnTo>
                    <a:pt x="6741" y="2119"/>
                  </a:lnTo>
                  <a:lnTo>
                    <a:pt x="6738" y="2119"/>
                  </a:lnTo>
                  <a:lnTo>
                    <a:pt x="6738" y="2124"/>
                  </a:lnTo>
                  <a:lnTo>
                    <a:pt x="6743" y="2137"/>
                  </a:lnTo>
                  <a:lnTo>
                    <a:pt x="6743" y="2137"/>
                  </a:lnTo>
                  <a:lnTo>
                    <a:pt x="6743" y="2139"/>
                  </a:lnTo>
                  <a:lnTo>
                    <a:pt x="6760" y="2150"/>
                  </a:lnTo>
                  <a:lnTo>
                    <a:pt x="6765" y="2152"/>
                  </a:lnTo>
                  <a:lnTo>
                    <a:pt x="6767" y="2148"/>
                  </a:lnTo>
                  <a:lnTo>
                    <a:pt x="6775" y="2126"/>
                  </a:lnTo>
                  <a:lnTo>
                    <a:pt x="6775" y="2124"/>
                  </a:lnTo>
                  <a:lnTo>
                    <a:pt x="6775" y="2124"/>
                  </a:lnTo>
                  <a:lnTo>
                    <a:pt x="6767" y="2109"/>
                  </a:lnTo>
                  <a:lnTo>
                    <a:pt x="6765" y="2104"/>
                  </a:lnTo>
                  <a:close/>
                  <a:moveTo>
                    <a:pt x="6882" y="2533"/>
                  </a:moveTo>
                  <a:lnTo>
                    <a:pt x="6880" y="2531"/>
                  </a:lnTo>
                  <a:lnTo>
                    <a:pt x="6878" y="2531"/>
                  </a:lnTo>
                  <a:lnTo>
                    <a:pt x="6860" y="2525"/>
                  </a:lnTo>
                  <a:lnTo>
                    <a:pt x="6858" y="2525"/>
                  </a:lnTo>
                  <a:lnTo>
                    <a:pt x="6856" y="2527"/>
                  </a:lnTo>
                  <a:lnTo>
                    <a:pt x="6843" y="2540"/>
                  </a:lnTo>
                  <a:lnTo>
                    <a:pt x="6841" y="2542"/>
                  </a:lnTo>
                  <a:lnTo>
                    <a:pt x="6841" y="2544"/>
                  </a:lnTo>
                  <a:lnTo>
                    <a:pt x="6852" y="2572"/>
                  </a:lnTo>
                  <a:lnTo>
                    <a:pt x="6854" y="2577"/>
                  </a:lnTo>
                  <a:lnTo>
                    <a:pt x="6858" y="2577"/>
                  </a:lnTo>
                  <a:lnTo>
                    <a:pt x="6889" y="2568"/>
                  </a:lnTo>
                  <a:lnTo>
                    <a:pt x="6893" y="2566"/>
                  </a:lnTo>
                  <a:lnTo>
                    <a:pt x="6893" y="2561"/>
                  </a:lnTo>
                  <a:lnTo>
                    <a:pt x="6882" y="2533"/>
                  </a:lnTo>
                  <a:close/>
                  <a:moveTo>
                    <a:pt x="6810" y="2080"/>
                  </a:moveTo>
                  <a:lnTo>
                    <a:pt x="6810" y="2072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99" y="1959"/>
                  </a:lnTo>
                  <a:lnTo>
                    <a:pt x="6789" y="1907"/>
                  </a:lnTo>
                  <a:lnTo>
                    <a:pt x="6786" y="1905"/>
                  </a:lnTo>
                  <a:lnTo>
                    <a:pt x="6786" y="1905"/>
                  </a:lnTo>
                  <a:lnTo>
                    <a:pt x="6749" y="1868"/>
                  </a:lnTo>
                  <a:lnTo>
                    <a:pt x="6754" y="1816"/>
                  </a:lnTo>
                  <a:lnTo>
                    <a:pt x="6771" y="1801"/>
                  </a:lnTo>
                  <a:lnTo>
                    <a:pt x="6775" y="1799"/>
                  </a:lnTo>
                  <a:lnTo>
                    <a:pt x="6771" y="1796"/>
                  </a:lnTo>
                  <a:lnTo>
                    <a:pt x="6708" y="1723"/>
                  </a:lnTo>
                  <a:lnTo>
                    <a:pt x="6710" y="1673"/>
                  </a:lnTo>
                  <a:lnTo>
                    <a:pt x="6736" y="1645"/>
                  </a:lnTo>
                  <a:lnTo>
                    <a:pt x="6736" y="1643"/>
                  </a:lnTo>
                  <a:lnTo>
                    <a:pt x="6736" y="1640"/>
                  </a:lnTo>
                  <a:lnTo>
                    <a:pt x="6730" y="1612"/>
                  </a:lnTo>
                  <a:lnTo>
                    <a:pt x="6730" y="1610"/>
                  </a:lnTo>
                  <a:lnTo>
                    <a:pt x="6728" y="1608"/>
                  </a:lnTo>
                  <a:lnTo>
                    <a:pt x="6673" y="1593"/>
                  </a:lnTo>
                  <a:lnTo>
                    <a:pt x="6621" y="1500"/>
                  </a:lnTo>
                  <a:lnTo>
                    <a:pt x="6627" y="1495"/>
                  </a:lnTo>
                  <a:lnTo>
                    <a:pt x="6643" y="1515"/>
                  </a:lnTo>
                  <a:lnTo>
                    <a:pt x="6645" y="1519"/>
                  </a:lnTo>
                  <a:lnTo>
                    <a:pt x="6649" y="1517"/>
                  </a:lnTo>
                  <a:lnTo>
                    <a:pt x="6675" y="1500"/>
                  </a:lnTo>
                  <a:lnTo>
                    <a:pt x="6680" y="1497"/>
                  </a:lnTo>
                  <a:lnTo>
                    <a:pt x="6675" y="1493"/>
                  </a:lnTo>
                  <a:lnTo>
                    <a:pt x="6634" y="1454"/>
                  </a:lnTo>
                  <a:lnTo>
                    <a:pt x="6632" y="1452"/>
                  </a:lnTo>
                  <a:lnTo>
                    <a:pt x="6629" y="1452"/>
                  </a:lnTo>
                  <a:lnTo>
                    <a:pt x="6608" y="1465"/>
                  </a:lnTo>
                  <a:lnTo>
                    <a:pt x="6575" y="1441"/>
                  </a:lnTo>
                  <a:lnTo>
                    <a:pt x="6573" y="1441"/>
                  </a:lnTo>
                  <a:lnTo>
                    <a:pt x="6573" y="1441"/>
                  </a:lnTo>
                  <a:lnTo>
                    <a:pt x="6558" y="1400"/>
                  </a:lnTo>
                  <a:lnTo>
                    <a:pt x="6555" y="1398"/>
                  </a:lnTo>
                  <a:lnTo>
                    <a:pt x="6512" y="1398"/>
                  </a:lnTo>
                  <a:lnTo>
                    <a:pt x="6512" y="1402"/>
                  </a:lnTo>
                  <a:lnTo>
                    <a:pt x="6507" y="1424"/>
                  </a:lnTo>
                  <a:lnTo>
                    <a:pt x="6490" y="1422"/>
                  </a:lnTo>
                  <a:lnTo>
                    <a:pt x="6414" y="1272"/>
                  </a:lnTo>
                  <a:lnTo>
                    <a:pt x="6418" y="1227"/>
                  </a:lnTo>
                  <a:lnTo>
                    <a:pt x="6446" y="1220"/>
                  </a:lnTo>
                  <a:lnTo>
                    <a:pt x="6449" y="1220"/>
                  </a:lnTo>
                  <a:lnTo>
                    <a:pt x="6449" y="1216"/>
                  </a:lnTo>
                  <a:lnTo>
                    <a:pt x="6429" y="1138"/>
                  </a:lnTo>
                  <a:lnTo>
                    <a:pt x="6468" y="1168"/>
                  </a:lnTo>
                  <a:lnTo>
                    <a:pt x="6475" y="1172"/>
                  </a:lnTo>
                  <a:lnTo>
                    <a:pt x="6475" y="1164"/>
                  </a:lnTo>
                  <a:lnTo>
                    <a:pt x="6477" y="1058"/>
                  </a:lnTo>
                  <a:lnTo>
                    <a:pt x="6512" y="1021"/>
                  </a:lnTo>
                  <a:lnTo>
                    <a:pt x="6568" y="1019"/>
                  </a:lnTo>
                  <a:lnTo>
                    <a:pt x="6575" y="1019"/>
                  </a:lnTo>
                  <a:lnTo>
                    <a:pt x="6573" y="1014"/>
                  </a:lnTo>
                  <a:lnTo>
                    <a:pt x="6540" y="934"/>
                  </a:lnTo>
                  <a:lnTo>
                    <a:pt x="6525" y="761"/>
                  </a:lnTo>
                  <a:lnTo>
                    <a:pt x="6523" y="759"/>
                  </a:lnTo>
                  <a:lnTo>
                    <a:pt x="6523" y="756"/>
                  </a:lnTo>
                  <a:lnTo>
                    <a:pt x="6512" y="635"/>
                  </a:lnTo>
                  <a:lnTo>
                    <a:pt x="6512" y="633"/>
                  </a:lnTo>
                  <a:lnTo>
                    <a:pt x="6510" y="631"/>
                  </a:lnTo>
                  <a:lnTo>
                    <a:pt x="6481" y="616"/>
                  </a:lnTo>
                  <a:lnTo>
                    <a:pt x="6558" y="564"/>
                  </a:lnTo>
                  <a:lnTo>
                    <a:pt x="6560" y="561"/>
                  </a:lnTo>
                  <a:lnTo>
                    <a:pt x="6560" y="559"/>
                  </a:lnTo>
                  <a:lnTo>
                    <a:pt x="6547" y="522"/>
                  </a:lnTo>
                  <a:lnTo>
                    <a:pt x="6547" y="520"/>
                  </a:lnTo>
                  <a:lnTo>
                    <a:pt x="6544" y="518"/>
                  </a:lnTo>
                  <a:lnTo>
                    <a:pt x="6394" y="507"/>
                  </a:lnTo>
                  <a:lnTo>
                    <a:pt x="6392" y="507"/>
                  </a:lnTo>
                  <a:lnTo>
                    <a:pt x="6390" y="507"/>
                  </a:lnTo>
                  <a:lnTo>
                    <a:pt x="6372" y="531"/>
                  </a:lnTo>
                  <a:lnTo>
                    <a:pt x="6333" y="533"/>
                  </a:lnTo>
                  <a:lnTo>
                    <a:pt x="6331" y="533"/>
                  </a:lnTo>
                  <a:lnTo>
                    <a:pt x="6331" y="538"/>
                  </a:lnTo>
                  <a:lnTo>
                    <a:pt x="6327" y="566"/>
                  </a:lnTo>
                  <a:lnTo>
                    <a:pt x="6300" y="564"/>
                  </a:lnTo>
                  <a:lnTo>
                    <a:pt x="6300" y="527"/>
                  </a:lnTo>
                  <a:lnTo>
                    <a:pt x="6335" y="514"/>
                  </a:lnTo>
                  <a:lnTo>
                    <a:pt x="6337" y="514"/>
                  </a:lnTo>
                  <a:lnTo>
                    <a:pt x="6337" y="512"/>
                  </a:lnTo>
                  <a:lnTo>
                    <a:pt x="6353" y="481"/>
                  </a:lnTo>
                  <a:lnTo>
                    <a:pt x="6353" y="481"/>
                  </a:lnTo>
                  <a:lnTo>
                    <a:pt x="6353" y="479"/>
                  </a:lnTo>
                  <a:lnTo>
                    <a:pt x="6346" y="399"/>
                  </a:lnTo>
                  <a:lnTo>
                    <a:pt x="6344" y="397"/>
                  </a:lnTo>
                  <a:lnTo>
                    <a:pt x="6342" y="397"/>
                  </a:lnTo>
                  <a:lnTo>
                    <a:pt x="6329" y="390"/>
                  </a:lnTo>
                  <a:lnTo>
                    <a:pt x="6327" y="390"/>
                  </a:lnTo>
                  <a:lnTo>
                    <a:pt x="6324" y="390"/>
                  </a:lnTo>
                  <a:lnTo>
                    <a:pt x="6311" y="399"/>
                  </a:lnTo>
                  <a:lnTo>
                    <a:pt x="6311" y="375"/>
                  </a:lnTo>
                  <a:lnTo>
                    <a:pt x="6311" y="371"/>
                  </a:lnTo>
                  <a:lnTo>
                    <a:pt x="6305" y="373"/>
                  </a:lnTo>
                  <a:lnTo>
                    <a:pt x="6272" y="384"/>
                  </a:lnTo>
                  <a:lnTo>
                    <a:pt x="6252" y="362"/>
                  </a:lnTo>
                  <a:lnTo>
                    <a:pt x="6259" y="327"/>
                  </a:lnTo>
                  <a:lnTo>
                    <a:pt x="6283" y="347"/>
                  </a:lnTo>
                  <a:lnTo>
                    <a:pt x="6285" y="349"/>
                  </a:lnTo>
                  <a:lnTo>
                    <a:pt x="6289" y="347"/>
                  </a:lnTo>
                  <a:lnTo>
                    <a:pt x="6303" y="336"/>
                  </a:lnTo>
                  <a:lnTo>
                    <a:pt x="6324" y="360"/>
                  </a:lnTo>
                  <a:lnTo>
                    <a:pt x="6329" y="366"/>
                  </a:lnTo>
                  <a:lnTo>
                    <a:pt x="6333" y="360"/>
                  </a:lnTo>
                  <a:lnTo>
                    <a:pt x="6346" y="325"/>
                  </a:lnTo>
                  <a:lnTo>
                    <a:pt x="6348" y="325"/>
                  </a:lnTo>
                  <a:lnTo>
                    <a:pt x="6348" y="323"/>
                  </a:lnTo>
                  <a:lnTo>
                    <a:pt x="6344" y="286"/>
                  </a:lnTo>
                  <a:lnTo>
                    <a:pt x="6368" y="264"/>
                  </a:lnTo>
                  <a:lnTo>
                    <a:pt x="6414" y="269"/>
                  </a:lnTo>
                  <a:lnTo>
                    <a:pt x="6416" y="269"/>
                  </a:lnTo>
                  <a:lnTo>
                    <a:pt x="6418" y="269"/>
                  </a:lnTo>
                  <a:lnTo>
                    <a:pt x="6497" y="208"/>
                  </a:lnTo>
                  <a:lnTo>
                    <a:pt x="6501" y="206"/>
                  </a:lnTo>
                  <a:lnTo>
                    <a:pt x="6499" y="202"/>
                  </a:lnTo>
                  <a:lnTo>
                    <a:pt x="6486" y="189"/>
                  </a:lnTo>
                  <a:lnTo>
                    <a:pt x="6514" y="193"/>
                  </a:lnTo>
                  <a:lnTo>
                    <a:pt x="6518" y="193"/>
                  </a:lnTo>
                  <a:lnTo>
                    <a:pt x="6518" y="189"/>
                  </a:lnTo>
                  <a:lnTo>
                    <a:pt x="6518" y="150"/>
                  </a:lnTo>
                  <a:lnTo>
                    <a:pt x="6518" y="145"/>
                  </a:lnTo>
                  <a:lnTo>
                    <a:pt x="6514" y="145"/>
                  </a:lnTo>
                  <a:lnTo>
                    <a:pt x="6473" y="154"/>
                  </a:lnTo>
                  <a:lnTo>
                    <a:pt x="6462" y="128"/>
                  </a:lnTo>
                  <a:lnTo>
                    <a:pt x="6462" y="126"/>
                  </a:lnTo>
                  <a:lnTo>
                    <a:pt x="6459" y="126"/>
                  </a:lnTo>
                  <a:lnTo>
                    <a:pt x="6407" y="117"/>
                  </a:lnTo>
                  <a:lnTo>
                    <a:pt x="6427" y="93"/>
                  </a:lnTo>
                  <a:lnTo>
                    <a:pt x="6429" y="91"/>
                  </a:lnTo>
                  <a:lnTo>
                    <a:pt x="6425" y="87"/>
                  </a:lnTo>
                  <a:lnTo>
                    <a:pt x="6401" y="69"/>
                  </a:lnTo>
                  <a:lnTo>
                    <a:pt x="6422" y="54"/>
                  </a:lnTo>
                  <a:lnTo>
                    <a:pt x="6427" y="52"/>
                  </a:lnTo>
                  <a:lnTo>
                    <a:pt x="6425" y="48"/>
                  </a:lnTo>
                  <a:lnTo>
                    <a:pt x="6390" y="4"/>
                  </a:lnTo>
                  <a:lnTo>
                    <a:pt x="6388" y="0"/>
                  </a:lnTo>
                  <a:lnTo>
                    <a:pt x="6385" y="2"/>
                  </a:lnTo>
                  <a:lnTo>
                    <a:pt x="6287" y="59"/>
                  </a:lnTo>
                  <a:lnTo>
                    <a:pt x="6285" y="61"/>
                  </a:lnTo>
                  <a:lnTo>
                    <a:pt x="6285" y="63"/>
                  </a:lnTo>
                  <a:lnTo>
                    <a:pt x="6281" y="108"/>
                  </a:lnTo>
                  <a:lnTo>
                    <a:pt x="6255" y="141"/>
                  </a:lnTo>
                  <a:lnTo>
                    <a:pt x="6250" y="145"/>
                  </a:lnTo>
                  <a:lnTo>
                    <a:pt x="6257" y="147"/>
                  </a:lnTo>
                  <a:lnTo>
                    <a:pt x="6311" y="169"/>
                  </a:lnTo>
                  <a:lnTo>
                    <a:pt x="6287" y="180"/>
                  </a:lnTo>
                  <a:lnTo>
                    <a:pt x="6185" y="152"/>
                  </a:lnTo>
                  <a:lnTo>
                    <a:pt x="6183" y="152"/>
                  </a:lnTo>
                  <a:lnTo>
                    <a:pt x="6181" y="154"/>
                  </a:lnTo>
                  <a:lnTo>
                    <a:pt x="6058" y="234"/>
                  </a:lnTo>
                  <a:lnTo>
                    <a:pt x="5878" y="332"/>
                  </a:lnTo>
                  <a:lnTo>
                    <a:pt x="5875" y="332"/>
                  </a:lnTo>
                  <a:lnTo>
                    <a:pt x="5875" y="334"/>
                  </a:lnTo>
                  <a:lnTo>
                    <a:pt x="5827" y="412"/>
                  </a:lnTo>
                  <a:lnTo>
                    <a:pt x="5825" y="414"/>
                  </a:lnTo>
                  <a:lnTo>
                    <a:pt x="5825" y="416"/>
                  </a:lnTo>
                  <a:lnTo>
                    <a:pt x="5830" y="436"/>
                  </a:lnTo>
                  <a:lnTo>
                    <a:pt x="5801" y="444"/>
                  </a:lnTo>
                  <a:lnTo>
                    <a:pt x="5799" y="444"/>
                  </a:lnTo>
                  <a:lnTo>
                    <a:pt x="5799" y="444"/>
                  </a:lnTo>
                  <a:lnTo>
                    <a:pt x="5751" y="485"/>
                  </a:lnTo>
                  <a:lnTo>
                    <a:pt x="5749" y="490"/>
                  </a:lnTo>
                  <a:lnTo>
                    <a:pt x="5751" y="492"/>
                  </a:lnTo>
                  <a:lnTo>
                    <a:pt x="5784" y="533"/>
                  </a:lnTo>
                  <a:lnTo>
                    <a:pt x="5786" y="535"/>
                  </a:lnTo>
                  <a:lnTo>
                    <a:pt x="5788" y="533"/>
                  </a:lnTo>
                  <a:lnTo>
                    <a:pt x="5817" y="525"/>
                  </a:lnTo>
                  <a:lnTo>
                    <a:pt x="5858" y="548"/>
                  </a:lnTo>
                  <a:lnTo>
                    <a:pt x="5854" y="585"/>
                  </a:lnTo>
                  <a:lnTo>
                    <a:pt x="5817" y="590"/>
                  </a:lnTo>
                  <a:lnTo>
                    <a:pt x="5814" y="590"/>
                  </a:lnTo>
                  <a:lnTo>
                    <a:pt x="5814" y="592"/>
                  </a:lnTo>
                  <a:lnTo>
                    <a:pt x="5788" y="605"/>
                  </a:lnTo>
                  <a:lnTo>
                    <a:pt x="5734" y="570"/>
                  </a:lnTo>
                  <a:lnTo>
                    <a:pt x="5727" y="566"/>
                  </a:lnTo>
                  <a:lnTo>
                    <a:pt x="5727" y="646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68" y="689"/>
                  </a:lnTo>
                  <a:lnTo>
                    <a:pt x="5647" y="733"/>
                  </a:lnTo>
                  <a:lnTo>
                    <a:pt x="5644" y="737"/>
                  </a:lnTo>
                  <a:lnTo>
                    <a:pt x="5644" y="737"/>
                  </a:lnTo>
                  <a:lnTo>
                    <a:pt x="5642" y="737"/>
                  </a:lnTo>
                  <a:lnTo>
                    <a:pt x="5631" y="759"/>
                  </a:lnTo>
                  <a:lnTo>
                    <a:pt x="5572" y="791"/>
                  </a:lnTo>
                  <a:lnTo>
                    <a:pt x="5531" y="750"/>
                  </a:lnTo>
                  <a:lnTo>
                    <a:pt x="5529" y="750"/>
                  </a:lnTo>
                  <a:lnTo>
                    <a:pt x="5527" y="750"/>
                  </a:lnTo>
                  <a:lnTo>
                    <a:pt x="5483" y="746"/>
                  </a:lnTo>
                  <a:lnTo>
                    <a:pt x="5481" y="746"/>
                  </a:lnTo>
                  <a:lnTo>
                    <a:pt x="5479" y="746"/>
                  </a:lnTo>
                  <a:lnTo>
                    <a:pt x="5416" y="789"/>
                  </a:lnTo>
                  <a:lnTo>
                    <a:pt x="5413" y="789"/>
                  </a:lnTo>
                  <a:lnTo>
                    <a:pt x="5413" y="789"/>
                  </a:lnTo>
                  <a:lnTo>
                    <a:pt x="5370" y="843"/>
                  </a:lnTo>
                  <a:lnTo>
                    <a:pt x="5370" y="843"/>
                  </a:lnTo>
                  <a:lnTo>
                    <a:pt x="5368" y="845"/>
                  </a:lnTo>
                  <a:lnTo>
                    <a:pt x="5352" y="897"/>
                  </a:lnTo>
                  <a:lnTo>
                    <a:pt x="5328" y="906"/>
                  </a:lnTo>
                  <a:lnTo>
                    <a:pt x="5294" y="889"/>
                  </a:lnTo>
                  <a:lnTo>
                    <a:pt x="5291" y="889"/>
                  </a:lnTo>
                  <a:lnTo>
                    <a:pt x="5289" y="889"/>
                  </a:lnTo>
                  <a:lnTo>
                    <a:pt x="5254" y="891"/>
                  </a:lnTo>
                  <a:lnTo>
                    <a:pt x="5252" y="891"/>
                  </a:lnTo>
                  <a:lnTo>
                    <a:pt x="5252" y="893"/>
                  </a:lnTo>
                  <a:lnTo>
                    <a:pt x="5237" y="912"/>
                  </a:lnTo>
                  <a:lnTo>
                    <a:pt x="5224" y="902"/>
                  </a:lnTo>
                  <a:lnTo>
                    <a:pt x="5222" y="899"/>
                  </a:lnTo>
                  <a:lnTo>
                    <a:pt x="5217" y="904"/>
                  </a:lnTo>
                  <a:lnTo>
                    <a:pt x="5206" y="915"/>
                  </a:lnTo>
                  <a:lnTo>
                    <a:pt x="5193" y="904"/>
                  </a:lnTo>
                  <a:lnTo>
                    <a:pt x="5224" y="876"/>
                  </a:lnTo>
                  <a:lnTo>
                    <a:pt x="5215" y="873"/>
                  </a:lnTo>
                  <a:lnTo>
                    <a:pt x="5154" y="869"/>
                  </a:lnTo>
                  <a:lnTo>
                    <a:pt x="5152" y="869"/>
                  </a:lnTo>
                  <a:lnTo>
                    <a:pt x="5150" y="871"/>
                  </a:lnTo>
                  <a:lnTo>
                    <a:pt x="5115" y="902"/>
                  </a:lnTo>
                  <a:lnTo>
                    <a:pt x="5113" y="904"/>
                  </a:lnTo>
                  <a:lnTo>
                    <a:pt x="5113" y="906"/>
                  </a:lnTo>
                  <a:lnTo>
                    <a:pt x="5132" y="969"/>
                  </a:lnTo>
                  <a:lnTo>
                    <a:pt x="5106" y="995"/>
                  </a:lnTo>
                  <a:lnTo>
                    <a:pt x="5106" y="949"/>
                  </a:lnTo>
                  <a:lnTo>
                    <a:pt x="5076" y="949"/>
                  </a:lnTo>
                  <a:lnTo>
                    <a:pt x="5076" y="949"/>
                  </a:lnTo>
                  <a:lnTo>
                    <a:pt x="5056" y="967"/>
                  </a:lnTo>
                  <a:lnTo>
                    <a:pt x="5054" y="949"/>
                  </a:lnTo>
                  <a:lnTo>
                    <a:pt x="5086" y="921"/>
                  </a:lnTo>
                  <a:lnTo>
                    <a:pt x="5095" y="912"/>
                  </a:lnTo>
                  <a:lnTo>
                    <a:pt x="5084" y="912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5045" y="915"/>
                  </a:lnTo>
                  <a:lnTo>
                    <a:pt x="4932" y="973"/>
                  </a:lnTo>
                  <a:lnTo>
                    <a:pt x="4927" y="975"/>
                  </a:lnTo>
                  <a:lnTo>
                    <a:pt x="4932" y="977"/>
                  </a:lnTo>
                  <a:lnTo>
                    <a:pt x="4951" y="1001"/>
                  </a:lnTo>
                  <a:lnTo>
                    <a:pt x="4921" y="1029"/>
                  </a:lnTo>
                  <a:lnTo>
                    <a:pt x="4919" y="1032"/>
                  </a:lnTo>
                  <a:lnTo>
                    <a:pt x="4921" y="1034"/>
                  </a:lnTo>
                  <a:lnTo>
                    <a:pt x="4934" y="1058"/>
                  </a:lnTo>
                  <a:lnTo>
                    <a:pt x="4934" y="1060"/>
                  </a:lnTo>
                  <a:lnTo>
                    <a:pt x="4938" y="1060"/>
                  </a:lnTo>
                  <a:lnTo>
                    <a:pt x="4956" y="1051"/>
                  </a:lnTo>
                  <a:lnTo>
                    <a:pt x="4958" y="1077"/>
                  </a:lnTo>
                  <a:lnTo>
                    <a:pt x="4958" y="1077"/>
                  </a:lnTo>
                  <a:lnTo>
                    <a:pt x="4958" y="1079"/>
                  </a:lnTo>
                  <a:lnTo>
                    <a:pt x="4982" y="1105"/>
                  </a:lnTo>
                  <a:lnTo>
                    <a:pt x="4947" y="1114"/>
                  </a:lnTo>
                  <a:lnTo>
                    <a:pt x="4945" y="1114"/>
                  </a:lnTo>
                  <a:lnTo>
                    <a:pt x="4943" y="1116"/>
                  </a:lnTo>
                  <a:lnTo>
                    <a:pt x="4932" y="1133"/>
                  </a:lnTo>
                  <a:lnTo>
                    <a:pt x="4930" y="1136"/>
                  </a:lnTo>
                  <a:lnTo>
                    <a:pt x="4930" y="1138"/>
                  </a:lnTo>
                  <a:lnTo>
                    <a:pt x="4940" y="1159"/>
                  </a:lnTo>
                  <a:lnTo>
                    <a:pt x="4912" y="1164"/>
                  </a:lnTo>
                  <a:lnTo>
                    <a:pt x="4866" y="1151"/>
                  </a:lnTo>
                  <a:lnTo>
                    <a:pt x="4864" y="1149"/>
                  </a:lnTo>
                  <a:lnTo>
                    <a:pt x="4862" y="1153"/>
                  </a:lnTo>
                  <a:lnTo>
                    <a:pt x="4849" y="1201"/>
                  </a:lnTo>
                  <a:lnTo>
                    <a:pt x="4775" y="1188"/>
                  </a:lnTo>
                  <a:lnTo>
                    <a:pt x="4770" y="1188"/>
                  </a:lnTo>
                  <a:lnTo>
                    <a:pt x="4770" y="1300"/>
                  </a:lnTo>
                  <a:lnTo>
                    <a:pt x="4723" y="1292"/>
                  </a:lnTo>
                  <a:lnTo>
                    <a:pt x="4644" y="1220"/>
                  </a:lnTo>
                  <a:lnTo>
                    <a:pt x="4670" y="1203"/>
                  </a:lnTo>
                  <a:lnTo>
                    <a:pt x="4672" y="1201"/>
                  </a:lnTo>
                  <a:lnTo>
                    <a:pt x="4670" y="1196"/>
                  </a:lnTo>
                  <a:lnTo>
                    <a:pt x="4620" y="1120"/>
                  </a:lnTo>
                  <a:lnTo>
                    <a:pt x="4618" y="1120"/>
                  </a:lnTo>
                  <a:lnTo>
                    <a:pt x="4618" y="1118"/>
                  </a:lnTo>
                  <a:lnTo>
                    <a:pt x="4585" y="1103"/>
                  </a:lnTo>
                  <a:lnTo>
                    <a:pt x="4583" y="1103"/>
                  </a:lnTo>
                  <a:lnTo>
                    <a:pt x="4581" y="1103"/>
                  </a:lnTo>
                  <a:lnTo>
                    <a:pt x="4533" y="1120"/>
                  </a:lnTo>
                  <a:lnTo>
                    <a:pt x="4478" y="1099"/>
                  </a:lnTo>
                  <a:lnTo>
                    <a:pt x="4474" y="1097"/>
                  </a:lnTo>
                  <a:lnTo>
                    <a:pt x="4472" y="1103"/>
                  </a:lnTo>
                  <a:lnTo>
                    <a:pt x="4465" y="1185"/>
                  </a:lnTo>
                  <a:lnTo>
                    <a:pt x="4367" y="1227"/>
                  </a:lnTo>
                  <a:lnTo>
                    <a:pt x="4335" y="1203"/>
                  </a:lnTo>
                  <a:lnTo>
                    <a:pt x="4339" y="1185"/>
                  </a:lnTo>
                  <a:lnTo>
                    <a:pt x="4341" y="1181"/>
                  </a:lnTo>
                  <a:lnTo>
                    <a:pt x="4335" y="1181"/>
                  </a:lnTo>
                  <a:lnTo>
                    <a:pt x="4232" y="1179"/>
                  </a:lnTo>
                  <a:lnTo>
                    <a:pt x="4230" y="1179"/>
                  </a:lnTo>
                  <a:lnTo>
                    <a:pt x="4228" y="1181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9" y="1218"/>
                  </a:lnTo>
                  <a:lnTo>
                    <a:pt x="4197" y="1227"/>
                  </a:lnTo>
                  <a:lnTo>
                    <a:pt x="4195" y="1207"/>
                  </a:lnTo>
                  <a:lnTo>
                    <a:pt x="4195" y="1207"/>
                  </a:lnTo>
                  <a:lnTo>
                    <a:pt x="4193" y="1205"/>
                  </a:lnTo>
                  <a:lnTo>
                    <a:pt x="4173" y="1190"/>
                  </a:lnTo>
                  <a:lnTo>
                    <a:pt x="4171" y="1185"/>
                  </a:lnTo>
                  <a:lnTo>
                    <a:pt x="4167" y="1190"/>
                  </a:lnTo>
                  <a:lnTo>
                    <a:pt x="4145" y="1211"/>
                  </a:lnTo>
                  <a:lnTo>
                    <a:pt x="4117" y="1227"/>
                  </a:lnTo>
                  <a:lnTo>
                    <a:pt x="4117" y="1227"/>
                  </a:lnTo>
                  <a:lnTo>
                    <a:pt x="4114" y="1227"/>
                  </a:lnTo>
                  <a:lnTo>
                    <a:pt x="4112" y="1229"/>
                  </a:lnTo>
                  <a:lnTo>
                    <a:pt x="4110" y="1229"/>
                  </a:lnTo>
                  <a:lnTo>
                    <a:pt x="4080" y="1244"/>
                  </a:lnTo>
                  <a:lnTo>
                    <a:pt x="4080" y="1244"/>
                  </a:lnTo>
                  <a:lnTo>
                    <a:pt x="4080" y="1246"/>
                  </a:lnTo>
                  <a:lnTo>
                    <a:pt x="4047" y="1270"/>
                  </a:lnTo>
                  <a:lnTo>
                    <a:pt x="4001" y="1283"/>
                  </a:lnTo>
                  <a:lnTo>
                    <a:pt x="3999" y="1285"/>
                  </a:lnTo>
                  <a:lnTo>
                    <a:pt x="3997" y="1285"/>
                  </a:lnTo>
                  <a:lnTo>
                    <a:pt x="3988" y="1302"/>
                  </a:lnTo>
                  <a:lnTo>
                    <a:pt x="3988" y="1276"/>
                  </a:lnTo>
                  <a:lnTo>
                    <a:pt x="4082" y="1181"/>
                  </a:lnTo>
                  <a:lnTo>
                    <a:pt x="4082" y="1179"/>
                  </a:lnTo>
                  <a:lnTo>
                    <a:pt x="4082" y="1179"/>
                  </a:lnTo>
                  <a:lnTo>
                    <a:pt x="4134" y="1086"/>
                  </a:lnTo>
                  <a:lnTo>
                    <a:pt x="4134" y="1086"/>
                  </a:lnTo>
                  <a:lnTo>
                    <a:pt x="4136" y="1084"/>
                  </a:lnTo>
                  <a:lnTo>
                    <a:pt x="4158" y="1001"/>
                  </a:lnTo>
                  <a:lnTo>
                    <a:pt x="4160" y="999"/>
                  </a:lnTo>
                  <a:lnTo>
                    <a:pt x="4158" y="997"/>
                  </a:lnTo>
                  <a:lnTo>
                    <a:pt x="4086" y="915"/>
                  </a:lnTo>
                  <a:lnTo>
                    <a:pt x="4084" y="912"/>
                  </a:lnTo>
                  <a:lnTo>
                    <a:pt x="4082" y="912"/>
                  </a:lnTo>
                  <a:lnTo>
                    <a:pt x="4014" y="910"/>
                  </a:lnTo>
                  <a:lnTo>
                    <a:pt x="4012" y="910"/>
                  </a:lnTo>
                  <a:lnTo>
                    <a:pt x="4010" y="912"/>
                  </a:lnTo>
                  <a:lnTo>
                    <a:pt x="3988" y="945"/>
                  </a:lnTo>
                  <a:lnTo>
                    <a:pt x="3968" y="947"/>
                  </a:lnTo>
                  <a:lnTo>
                    <a:pt x="3988" y="897"/>
                  </a:lnTo>
                  <a:lnTo>
                    <a:pt x="3988" y="893"/>
                  </a:lnTo>
                  <a:lnTo>
                    <a:pt x="3984" y="891"/>
                  </a:lnTo>
                  <a:lnTo>
                    <a:pt x="3936" y="884"/>
                  </a:lnTo>
                  <a:lnTo>
                    <a:pt x="3949" y="865"/>
                  </a:lnTo>
                  <a:lnTo>
                    <a:pt x="3951" y="863"/>
                  </a:lnTo>
                  <a:lnTo>
                    <a:pt x="3949" y="860"/>
                  </a:lnTo>
                  <a:lnTo>
                    <a:pt x="3914" y="830"/>
                  </a:lnTo>
                  <a:lnTo>
                    <a:pt x="3912" y="830"/>
                  </a:lnTo>
                  <a:lnTo>
                    <a:pt x="3910" y="830"/>
                  </a:lnTo>
                  <a:lnTo>
                    <a:pt x="3879" y="841"/>
                  </a:lnTo>
                  <a:lnTo>
                    <a:pt x="3879" y="843"/>
                  </a:lnTo>
                  <a:lnTo>
                    <a:pt x="3877" y="843"/>
                  </a:lnTo>
                  <a:lnTo>
                    <a:pt x="3829" y="917"/>
                  </a:lnTo>
                  <a:lnTo>
                    <a:pt x="3827" y="917"/>
                  </a:lnTo>
                  <a:lnTo>
                    <a:pt x="3827" y="919"/>
                  </a:lnTo>
                  <a:lnTo>
                    <a:pt x="3838" y="958"/>
                  </a:lnTo>
                  <a:lnTo>
                    <a:pt x="3790" y="960"/>
                  </a:lnTo>
                  <a:lnTo>
                    <a:pt x="3785" y="960"/>
                  </a:lnTo>
                  <a:lnTo>
                    <a:pt x="3788" y="964"/>
                  </a:lnTo>
                  <a:lnTo>
                    <a:pt x="3788" y="977"/>
                  </a:lnTo>
                  <a:lnTo>
                    <a:pt x="3788" y="980"/>
                  </a:lnTo>
                  <a:lnTo>
                    <a:pt x="3788" y="980"/>
                  </a:lnTo>
                  <a:lnTo>
                    <a:pt x="3803" y="999"/>
                  </a:lnTo>
                  <a:lnTo>
                    <a:pt x="3775" y="995"/>
                  </a:lnTo>
                  <a:lnTo>
                    <a:pt x="3772" y="995"/>
                  </a:lnTo>
                  <a:lnTo>
                    <a:pt x="3770" y="995"/>
                  </a:lnTo>
                  <a:lnTo>
                    <a:pt x="3753" y="1012"/>
                  </a:lnTo>
                  <a:lnTo>
                    <a:pt x="3713" y="1006"/>
                  </a:lnTo>
                  <a:lnTo>
                    <a:pt x="3709" y="988"/>
                  </a:lnTo>
                  <a:lnTo>
                    <a:pt x="3709" y="986"/>
                  </a:lnTo>
                  <a:lnTo>
                    <a:pt x="3705" y="986"/>
                  </a:lnTo>
                  <a:lnTo>
                    <a:pt x="3644" y="986"/>
                  </a:lnTo>
                  <a:lnTo>
                    <a:pt x="3639" y="986"/>
                  </a:lnTo>
                  <a:lnTo>
                    <a:pt x="3639" y="990"/>
                  </a:lnTo>
                  <a:lnTo>
                    <a:pt x="3642" y="1023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70" y="1032"/>
                  </a:lnTo>
                  <a:lnTo>
                    <a:pt x="3520" y="1071"/>
                  </a:lnTo>
                  <a:lnTo>
                    <a:pt x="3482" y="1073"/>
                  </a:lnTo>
                  <a:lnTo>
                    <a:pt x="3480" y="1073"/>
                  </a:lnTo>
                  <a:lnTo>
                    <a:pt x="3480" y="1073"/>
                  </a:lnTo>
                  <a:lnTo>
                    <a:pt x="3452" y="1099"/>
                  </a:lnTo>
                  <a:lnTo>
                    <a:pt x="3450" y="1099"/>
                  </a:lnTo>
                  <a:lnTo>
                    <a:pt x="3450" y="1101"/>
                  </a:lnTo>
                  <a:lnTo>
                    <a:pt x="3437" y="1151"/>
                  </a:lnTo>
                  <a:lnTo>
                    <a:pt x="3437" y="1153"/>
                  </a:lnTo>
                  <a:lnTo>
                    <a:pt x="3439" y="1155"/>
                  </a:lnTo>
                  <a:lnTo>
                    <a:pt x="3459" y="1192"/>
                  </a:lnTo>
                  <a:lnTo>
                    <a:pt x="3428" y="1201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332" y="1183"/>
                  </a:lnTo>
                  <a:lnTo>
                    <a:pt x="3278" y="1183"/>
                  </a:lnTo>
                  <a:lnTo>
                    <a:pt x="3273" y="1183"/>
                  </a:lnTo>
                  <a:lnTo>
                    <a:pt x="3273" y="1185"/>
                  </a:lnTo>
                  <a:lnTo>
                    <a:pt x="3256" y="1216"/>
                  </a:lnTo>
                  <a:lnTo>
                    <a:pt x="3256" y="1216"/>
                  </a:lnTo>
                  <a:lnTo>
                    <a:pt x="3256" y="1218"/>
                  </a:lnTo>
                  <a:lnTo>
                    <a:pt x="3254" y="1296"/>
                  </a:lnTo>
                  <a:lnTo>
                    <a:pt x="3254" y="1298"/>
                  </a:lnTo>
                  <a:lnTo>
                    <a:pt x="3254" y="1300"/>
                  </a:lnTo>
                  <a:lnTo>
                    <a:pt x="3289" y="1333"/>
                  </a:lnTo>
                  <a:lnTo>
                    <a:pt x="3304" y="1367"/>
                  </a:lnTo>
                  <a:lnTo>
                    <a:pt x="3262" y="1367"/>
                  </a:lnTo>
                  <a:lnTo>
                    <a:pt x="3223" y="1292"/>
                  </a:lnTo>
                  <a:lnTo>
                    <a:pt x="3221" y="1287"/>
                  </a:lnTo>
                  <a:lnTo>
                    <a:pt x="3219" y="1287"/>
                  </a:lnTo>
                  <a:lnTo>
                    <a:pt x="3188" y="1289"/>
                  </a:lnTo>
                  <a:lnTo>
                    <a:pt x="3188" y="1289"/>
                  </a:lnTo>
                  <a:lnTo>
                    <a:pt x="3186" y="1289"/>
                  </a:lnTo>
                  <a:lnTo>
                    <a:pt x="3184" y="1289"/>
                  </a:lnTo>
                  <a:lnTo>
                    <a:pt x="3160" y="1292"/>
                  </a:lnTo>
                  <a:lnTo>
                    <a:pt x="3158" y="1292"/>
                  </a:lnTo>
                  <a:lnTo>
                    <a:pt x="3156" y="1294"/>
                  </a:lnTo>
                  <a:lnTo>
                    <a:pt x="3147" y="1328"/>
                  </a:lnTo>
                  <a:lnTo>
                    <a:pt x="3114" y="1300"/>
                  </a:lnTo>
                  <a:lnTo>
                    <a:pt x="3110" y="1296"/>
                  </a:lnTo>
                  <a:lnTo>
                    <a:pt x="3108" y="1302"/>
                  </a:lnTo>
                  <a:lnTo>
                    <a:pt x="3097" y="1337"/>
                  </a:lnTo>
                  <a:lnTo>
                    <a:pt x="3097" y="1339"/>
                  </a:lnTo>
                  <a:lnTo>
                    <a:pt x="3099" y="1341"/>
                  </a:lnTo>
                  <a:lnTo>
                    <a:pt x="3136" y="1383"/>
                  </a:lnTo>
                  <a:lnTo>
                    <a:pt x="3138" y="1409"/>
                  </a:lnTo>
                  <a:lnTo>
                    <a:pt x="3075" y="1352"/>
                  </a:lnTo>
                  <a:lnTo>
                    <a:pt x="3073" y="1313"/>
                  </a:lnTo>
                  <a:lnTo>
                    <a:pt x="3103" y="1279"/>
                  </a:lnTo>
                  <a:lnTo>
                    <a:pt x="3103" y="1276"/>
                  </a:lnTo>
                  <a:lnTo>
                    <a:pt x="3103" y="1276"/>
                  </a:lnTo>
                  <a:lnTo>
                    <a:pt x="3108" y="1216"/>
                  </a:lnTo>
                  <a:lnTo>
                    <a:pt x="3108" y="1209"/>
                  </a:lnTo>
                  <a:lnTo>
                    <a:pt x="3101" y="1211"/>
                  </a:lnTo>
                  <a:lnTo>
                    <a:pt x="3090" y="1218"/>
                  </a:lnTo>
                  <a:lnTo>
                    <a:pt x="3088" y="1218"/>
                  </a:lnTo>
                  <a:lnTo>
                    <a:pt x="3088" y="1220"/>
                  </a:lnTo>
                  <a:lnTo>
                    <a:pt x="3073" y="1259"/>
                  </a:lnTo>
                  <a:lnTo>
                    <a:pt x="3051" y="1279"/>
                  </a:lnTo>
                  <a:lnTo>
                    <a:pt x="3029" y="1285"/>
                  </a:lnTo>
                  <a:lnTo>
                    <a:pt x="3027" y="1285"/>
                  </a:lnTo>
                  <a:lnTo>
                    <a:pt x="3027" y="1287"/>
                  </a:lnTo>
                  <a:lnTo>
                    <a:pt x="3003" y="1320"/>
                  </a:lnTo>
                  <a:lnTo>
                    <a:pt x="3003" y="1322"/>
                  </a:lnTo>
                  <a:lnTo>
                    <a:pt x="3003" y="1324"/>
                  </a:lnTo>
                  <a:lnTo>
                    <a:pt x="3003" y="1411"/>
                  </a:lnTo>
                  <a:lnTo>
                    <a:pt x="2949" y="1497"/>
                  </a:lnTo>
                  <a:lnTo>
                    <a:pt x="2949" y="1497"/>
                  </a:lnTo>
                  <a:lnTo>
                    <a:pt x="2949" y="1500"/>
                  </a:lnTo>
                  <a:lnTo>
                    <a:pt x="2951" y="1554"/>
                  </a:lnTo>
                  <a:lnTo>
                    <a:pt x="2951" y="1556"/>
                  </a:lnTo>
                  <a:lnTo>
                    <a:pt x="3010" y="1556"/>
                  </a:lnTo>
                  <a:lnTo>
                    <a:pt x="3055" y="1610"/>
                  </a:lnTo>
                  <a:lnTo>
                    <a:pt x="3055" y="1660"/>
                  </a:lnTo>
                  <a:lnTo>
                    <a:pt x="3023" y="1699"/>
                  </a:lnTo>
                  <a:lnTo>
                    <a:pt x="3020" y="1701"/>
                  </a:lnTo>
                  <a:lnTo>
                    <a:pt x="3023" y="1703"/>
                  </a:lnTo>
                  <a:lnTo>
                    <a:pt x="3031" y="1721"/>
                  </a:lnTo>
                  <a:lnTo>
                    <a:pt x="3031" y="1723"/>
                  </a:lnTo>
                  <a:lnTo>
                    <a:pt x="3034" y="1723"/>
                  </a:lnTo>
                  <a:lnTo>
                    <a:pt x="3051" y="1731"/>
                  </a:lnTo>
                  <a:lnTo>
                    <a:pt x="3016" y="1740"/>
                  </a:lnTo>
                  <a:lnTo>
                    <a:pt x="3003" y="1695"/>
                  </a:lnTo>
                  <a:lnTo>
                    <a:pt x="3040" y="1634"/>
                  </a:lnTo>
                  <a:lnTo>
                    <a:pt x="3040" y="1632"/>
                  </a:lnTo>
                  <a:lnTo>
                    <a:pt x="3040" y="1630"/>
                  </a:lnTo>
                  <a:lnTo>
                    <a:pt x="3023" y="1582"/>
                  </a:lnTo>
                  <a:lnTo>
                    <a:pt x="3023" y="1580"/>
                  </a:lnTo>
                  <a:lnTo>
                    <a:pt x="3020" y="1580"/>
                  </a:lnTo>
                  <a:lnTo>
                    <a:pt x="2964" y="1571"/>
                  </a:lnTo>
                  <a:lnTo>
                    <a:pt x="2962" y="1571"/>
                  </a:lnTo>
                  <a:lnTo>
                    <a:pt x="2962" y="1573"/>
                  </a:lnTo>
                  <a:lnTo>
                    <a:pt x="2929" y="1601"/>
                  </a:lnTo>
                  <a:lnTo>
                    <a:pt x="2929" y="1604"/>
                  </a:lnTo>
                  <a:lnTo>
                    <a:pt x="2929" y="1604"/>
                  </a:lnTo>
                  <a:lnTo>
                    <a:pt x="2925" y="1671"/>
                  </a:lnTo>
                  <a:lnTo>
                    <a:pt x="2877" y="1721"/>
                  </a:lnTo>
                  <a:lnTo>
                    <a:pt x="2831" y="1736"/>
                  </a:lnTo>
                  <a:lnTo>
                    <a:pt x="2829" y="1738"/>
                  </a:lnTo>
                  <a:lnTo>
                    <a:pt x="2829" y="1738"/>
                  </a:lnTo>
                  <a:lnTo>
                    <a:pt x="2798" y="1768"/>
                  </a:lnTo>
                  <a:lnTo>
                    <a:pt x="2698" y="1708"/>
                  </a:lnTo>
                  <a:lnTo>
                    <a:pt x="2698" y="1684"/>
                  </a:lnTo>
                  <a:lnTo>
                    <a:pt x="2763" y="1714"/>
                  </a:lnTo>
                  <a:lnTo>
                    <a:pt x="2765" y="1714"/>
                  </a:lnTo>
                  <a:lnTo>
                    <a:pt x="2765" y="1714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05" y="1699"/>
                  </a:lnTo>
                  <a:lnTo>
                    <a:pt x="2866" y="1660"/>
                  </a:lnTo>
                  <a:lnTo>
                    <a:pt x="2866" y="1660"/>
                  </a:lnTo>
                  <a:lnTo>
                    <a:pt x="2866" y="1658"/>
                  </a:lnTo>
                  <a:lnTo>
                    <a:pt x="2907" y="1578"/>
                  </a:lnTo>
                  <a:lnTo>
                    <a:pt x="2907" y="1575"/>
                  </a:lnTo>
                  <a:lnTo>
                    <a:pt x="2907" y="1575"/>
                  </a:lnTo>
                  <a:lnTo>
                    <a:pt x="2901" y="1532"/>
                  </a:lnTo>
                  <a:lnTo>
                    <a:pt x="2970" y="1370"/>
                  </a:lnTo>
                  <a:lnTo>
                    <a:pt x="2970" y="1370"/>
                  </a:lnTo>
                  <a:lnTo>
                    <a:pt x="2970" y="1367"/>
                  </a:lnTo>
                  <a:lnTo>
                    <a:pt x="2979" y="1339"/>
                  </a:lnTo>
                  <a:lnTo>
                    <a:pt x="2979" y="1339"/>
                  </a:lnTo>
                  <a:lnTo>
                    <a:pt x="2979" y="1337"/>
                  </a:lnTo>
                  <a:lnTo>
                    <a:pt x="2970" y="1302"/>
                  </a:lnTo>
                  <a:lnTo>
                    <a:pt x="3014" y="1261"/>
                  </a:lnTo>
                  <a:lnTo>
                    <a:pt x="3016" y="1261"/>
                  </a:lnTo>
                  <a:lnTo>
                    <a:pt x="3016" y="1259"/>
                  </a:lnTo>
                  <a:lnTo>
                    <a:pt x="3025" y="1198"/>
                  </a:lnTo>
                  <a:lnTo>
                    <a:pt x="3025" y="1198"/>
                  </a:lnTo>
                  <a:lnTo>
                    <a:pt x="3025" y="1196"/>
                  </a:lnTo>
                  <a:lnTo>
                    <a:pt x="2992" y="1155"/>
                  </a:lnTo>
                  <a:lnTo>
                    <a:pt x="3023" y="1151"/>
                  </a:lnTo>
                  <a:lnTo>
                    <a:pt x="3027" y="1151"/>
                  </a:lnTo>
                  <a:lnTo>
                    <a:pt x="3025" y="1146"/>
                  </a:lnTo>
                  <a:lnTo>
                    <a:pt x="3020" y="1103"/>
                  </a:lnTo>
                  <a:lnTo>
                    <a:pt x="3020" y="1101"/>
                  </a:lnTo>
                  <a:lnTo>
                    <a:pt x="3016" y="1099"/>
                  </a:lnTo>
                  <a:lnTo>
                    <a:pt x="2981" y="1097"/>
                  </a:lnTo>
                  <a:lnTo>
                    <a:pt x="2977" y="1097"/>
                  </a:lnTo>
                  <a:lnTo>
                    <a:pt x="2977" y="1101"/>
                  </a:lnTo>
                  <a:lnTo>
                    <a:pt x="2973" y="1133"/>
                  </a:lnTo>
                  <a:lnTo>
                    <a:pt x="2973" y="1133"/>
                  </a:lnTo>
                  <a:lnTo>
                    <a:pt x="2975" y="1136"/>
                  </a:lnTo>
                  <a:lnTo>
                    <a:pt x="2977" y="1144"/>
                  </a:lnTo>
                  <a:lnTo>
                    <a:pt x="2964" y="1140"/>
                  </a:lnTo>
                  <a:lnTo>
                    <a:pt x="2962" y="1138"/>
                  </a:lnTo>
                  <a:lnTo>
                    <a:pt x="2959" y="1140"/>
                  </a:lnTo>
                  <a:lnTo>
                    <a:pt x="2927" y="1166"/>
                  </a:lnTo>
                  <a:lnTo>
                    <a:pt x="2925" y="1166"/>
                  </a:lnTo>
                  <a:lnTo>
                    <a:pt x="2925" y="1166"/>
                  </a:lnTo>
                  <a:lnTo>
                    <a:pt x="2885" y="1218"/>
                  </a:lnTo>
                  <a:lnTo>
                    <a:pt x="2853" y="1248"/>
                  </a:lnTo>
                  <a:lnTo>
                    <a:pt x="2807" y="1259"/>
                  </a:lnTo>
                  <a:lnTo>
                    <a:pt x="2805" y="1259"/>
                  </a:lnTo>
                  <a:lnTo>
                    <a:pt x="2805" y="1259"/>
                  </a:lnTo>
                  <a:lnTo>
                    <a:pt x="2781" y="1283"/>
                  </a:lnTo>
                  <a:lnTo>
                    <a:pt x="2776" y="1287"/>
                  </a:lnTo>
                  <a:lnTo>
                    <a:pt x="2779" y="1289"/>
                  </a:lnTo>
                  <a:lnTo>
                    <a:pt x="2803" y="1320"/>
                  </a:lnTo>
                  <a:lnTo>
                    <a:pt x="2779" y="1365"/>
                  </a:lnTo>
                  <a:lnTo>
                    <a:pt x="2742" y="1376"/>
                  </a:lnTo>
                  <a:lnTo>
                    <a:pt x="2739" y="1376"/>
                  </a:lnTo>
                  <a:lnTo>
                    <a:pt x="2739" y="1380"/>
                  </a:lnTo>
                  <a:lnTo>
                    <a:pt x="2737" y="1396"/>
                  </a:lnTo>
                  <a:lnTo>
                    <a:pt x="2737" y="1398"/>
                  </a:lnTo>
                  <a:lnTo>
                    <a:pt x="2739" y="1400"/>
                  </a:lnTo>
                  <a:lnTo>
                    <a:pt x="2770" y="1432"/>
                  </a:lnTo>
                  <a:lnTo>
                    <a:pt x="2759" y="1461"/>
                  </a:lnTo>
                  <a:lnTo>
                    <a:pt x="2759" y="1463"/>
                  </a:lnTo>
                  <a:lnTo>
                    <a:pt x="2759" y="1463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65" y="1484"/>
                  </a:lnTo>
                  <a:lnTo>
                    <a:pt x="2776" y="1500"/>
                  </a:lnTo>
                  <a:lnTo>
                    <a:pt x="2739" y="1532"/>
                  </a:lnTo>
                  <a:lnTo>
                    <a:pt x="2731" y="151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718" y="1467"/>
                  </a:lnTo>
                  <a:lnTo>
                    <a:pt x="2674" y="1396"/>
                  </a:lnTo>
                  <a:lnTo>
                    <a:pt x="2672" y="1393"/>
                  </a:lnTo>
                  <a:lnTo>
                    <a:pt x="2672" y="1393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650" y="1352"/>
                  </a:lnTo>
                  <a:lnTo>
                    <a:pt x="2593" y="1292"/>
                  </a:lnTo>
                  <a:lnTo>
                    <a:pt x="2591" y="1289"/>
                  </a:lnTo>
                  <a:lnTo>
                    <a:pt x="2543" y="1289"/>
                  </a:lnTo>
                  <a:lnTo>
                    <a:pt x="2541" y="1294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7" y="1318"/>
                  </a:lnTo>
                  <a:lnTo>
                    <a:pt x="2534" y="1354"/>
                  </a:lnTo>
                  <a:lnTo>
                    <a:pt x="2508" y="1370"/>
                  </a:lnTo>
                  <a:lnTo>
                    <a:pt x="2493" y="1367"/>
                  </a:lnTo>
                  <a:lnTo>
                    <a:pt x="2489" y="1365"/>
                  </a:lnTo>
                  <a:lnTo>
                    <a:pt x="2489" y="1367"/>
                  </a:lnTo>
                  <a:lnTo>
                    <a:pt x="2480" y="1380"/>
                  </a:lnTo>
                  <a:lnTo>
                    <a:pt x="2465" y="1370"/>
                  </a:lnTo>
                  <a:lnTo>
                    <a:pt x="2487" y="1350"/>
                  </a:lnTo>
                  <a:lnTo>
                    <a:pt x="2489" y="1350"/>
                  </a:lnTo>
                  <a:lnTo>
                    <a:pt x="2489" y="1320"/>
                  </a:lnTo>
                  <a:lnTo>
                    <a:pt x="2484" y="1320"/>
                  </a:lnTo>
                  <a:lnTo>
                    <a:pt x="2404" y="1318"/>
                  </a:lnTo>
                  <a:lnTo>
                    <a:pt x="2364" y="1289"/>
                  </a:lnTo>
                  <a:lnTo>
                    <a:pt x="2364" y="1287"/>
                  </a:lnTo>
                  <a:lnTo>
                    <a:pt x="2362" y="1289"/>
                  </a:lnTo>
                  <a:lnTo>
                    <a:pt x="2303" y="1294"/>
                  </a:lnTo>
                  <a:lnTo>
                    <a:pt x="2288" y="1272"/>
                  </a:lnTo>
                  <a:lnTo>
                    <a:pt x="2317" y="1270"/>
                  </a:lnTo>
                  <a:lnTo>
                    <a:pt x="2319" y="1270"/>
                  </a:lnTo>
                  <a:lnTo>
                    <a:pt x="2321" y="1268"/>
                  </a:lnTo>
                  <a:lnTo>
                    <a:pt x="2338" y="1231"/>
                  </a:lnTo>
                  <a:lnTo>
                    <a:pt x="2343" y="1224"/>
                  </a:lnTo>
                  <a:lnTo>
                    <a:pt x="2336" y="1224"/>
                  </a:lnTo>
                  <a:lnTo>
                    <a:pt x="2288" y="1214"/>
                  </a:lnTo>
                  <a:lnTo>
                    <a:pt x="2286" y="1211"/>
                  </a:lnTo>
                  <a:lnTo>
                    <a:pt x="2284" y="1214"/>
                  </a:lnTo>
                  <a:lnTo>
                    <a:pt x="2264" y="1237"/>
                  </a:lnTo>
                  <a:lnTo>
                    <a:pt x="2256" y="1222"/>
                  </a:lnTo>
                  <a:lnTo>
                    <a:pt x="2256" y="1220"/>
                  </a:lnTo>
                  <a:lnTo>
                    <a:pt x="2253" y="1220"/>
                  </a:lnTo>
                  <a:lnTo>
                    <a:pt x="2129" y="1190"/>
                  </a:lnTo>
                  <a:lnTo>
                    <a:pt x="2127" y="1188"/>
                  </a:lnTo>
                  <a:lnTo>
                    <a:pt x="2112" y="1203"/>
                  </a:lnTo>
                  <a:lnTo>
                    <a:pt x="2096" y="1190"/>
                  </a:lnTo>
                  <a:lnTo>
                    <a:pt x="2094" y="1188"/>
                  </a:lnTo>
                  <a:lnTo>
                    <a:pt x="2092" y="1188"/>
                  </a:lnTo>
                  <a:lnTo>
                    <a:pt x="2029" y="1224"/>
                  </a:lnTo>
                  <a:lnTo>
                    <a:pt x="1998" y="1196"/>
                  </a:lnTo>
                  <a:lnTo>
                    <a:pt x="2007" y="1170"/>
                  </a:lnTo>
                  <a:lnTo>
                    <a:pt x="2007" y="1168"/>
                  </a:lnTo>
                  <a:lnTo>
                    <a:pt x="2007" y="1166"/>
                  </a:lnTo>
                  <a:lnTo>
                    <a:pt x="1998" y="1142"/>
                  </a:lnTo>
                  <a:lnTo>
                    <a:pt x="2033" y="1129"/>
                  </a:lnTo>
                  <a:lnTo>
                    <a:pt x="2068" y="1155"/>
                  </a:lnTo>
                  <a:lnTo>
                    <a:pt x="2072" y="1157"/>
                  </a:lnTo>
                  <a:lnTo>
                    <a:pt x="2075" y="1153"/>
                  </a:lnTo>
                  <a:lnTo>
                    <a:pt x="2094" y="1125"/>
                  </a:lnTo>
                  <a:lnTo>
                    <a:pt x="2094" y="1123"/>
                  </a:lnTo>
                  <a:lnTo>
                    <a:pt x="2094" y="1123"/>
                  </a:lnTo>
                  <a:lnTo>
                    <a:pt x="2092" y="1068"/>
                  </a:lnTo>
                  <a:lnTo>
                    <a:pt x="2092" y="1066"/>
                  </a:lnTo>
                  <a:lnTo>
                    <a:pt x="2092" y="1066"/>
                  </a:lnTo>
                  <a:lnTo>
                    <a:pt x="2042" y="1012"/>
                  </a:lnTo>
                  <a:lnTo>
                    <a:pt x="2038" y="1006"/>
                  </a:lnTo>
                  <a:lnTo>
                    <a:pt x="2035" y="1012"/>
                  </a:lnTo>
                  <a:lnTo>
                    <a:pt x="2020" y="1064"/>
                  </a:lnTo>
                  <a:lnTo>
                    <a:pt x="1953" y="1107"/>
                  </a:lnTo>
                  <a:lnTo>
                    <a:pt x="1953" y="1110"/>
                  </a:lnTo>
                  <a:lnTo>
                    <a:pt x="1950" y="1112"/>
                  </a:lnTo>
                  <a:lnTo>
                    <a:pt x="1946" y="1144"/>
                  </a:lnTo>
                  <a:lnTo>
                    <a:pt x="1916" y="1170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3" y="1172"/>
                  </a:lnTo>
                  <a:lnTo>
                    <a:pt x="1911" y="1175"/>
                  </a:lnTo>
                  <a:lnTo>
                    <a:pt x="1881" y="1203"/>
                  </a:lnTo>
                  <a:lnTo>
                    <a:pt x="1870" y="1183"/>
                  </a:lnTo>
                  <a:lnTo>
                    <a:pt x="1887" y="1179"/>
                  </a:lnTo>
                  <a:lnTo>
                    <a:pt x="1892" y="1179"/>
                  </a:lnTo>
                  <a:lnTo>
                    <a:pt x="1889" y="1172"/>
                  </a:lnTo>
                  <a:lnTo>
                    <a:pt x="1861" y="1120"/>
                  </a:lnTo>
                  <a:lnTo>
                    <a:pt x="1861" y="1116"/>
                  </a:lnTo>
                  <a:lnTo>
                    <a:pt x="1857" y="1118"/>
                  </a:lnTo>
                  <a:lnTo>
                    <a:pt x="1815" y="1125"/>
                  </a:lnTo>
                  <a:lnTo>
                    <a:pt x="1772" y="1110"/>
                  </a:lnTo>
                  <a:lnTo>
                    <a:pt x="1772" y="1110"/>
                  </a:lnTo>
                  <a:lnTo>
                    <a:pt x="1770" y="1110"/>
                  </a:lnTo>
                  <a:lnTo>
                    <a:pt x="1717" y="1118"/>
                  </a:lnTo>
                  <a:lnTo>
                    <a:pt x="1715" y="1118"/>
                  </a:lnTo>
                  <a:lnTo>
                    <a:pt x="1713" y="1120"/>
                  </a:lnTo>
                  <a:lnTo>
                    <a:pt x="1687" y="1190"/>
                  </a:lnTo>
                  <a:lnTo>
                    <a:pt x="1669" y="1179"/>
                  </a:lnTo>
                  <a:lnTo>
                    <a:pt x="1641" y="1112"/>
                  </a:lnTo>
                  <a:lnTo>
                    <a:pt x="1645" y="1055"/>
                  </a:lnTo>
                  <a:lnTo>
                    <a:pt x="1645" y="1051"/>
                  </a:lnTo>
                  <a:lnTo>
                    <a:pt x="1639" y="1051"/>
                  </a:lnTo>
                  <a:lnTo>
                    <a:pt x="1591" y="1058"/>
                  </a:lnTo>
                  <a:lnTo>
                    <a:pt x="1586" y="1058"/>
                  </a:lnTo>
                  <a:lnTo>
                    <a:pt x="1586" y="1060"/>
                  </a:lnTo>
                  <a:lnTo>
                    <a:pt x="1573" y="1107"/>
                  </a:lnTo>
                  <a:lnTo>
                    <a:pt x="1571" y="1110"/>
                  </a:lnTo>
                  <a:lnTo>
                    <a:pt x="1573" y="1112"/>
                  </a:lnTo>
                  <a:lnTo>
                    <a:pt x="1593" y="1136"/>
                  </a:lnTo>
                  <a:lnTo>
                    <a:pt x="1576" y="1157"/>
                  </a:lnTo>
                  <a:lnTo>
                    <a:pt x="1549" y="1142"/>
                  </a:lnTo>
                  <a:lnTo>
                    <a:pt x="1543" y="1105"/>
                  </a:lnTo>
                  <a:lnTo>
                    <a:pt x="1543" y="1103"/>
                  </a:lnTo>
                  <a:lnTo>
                    <a:pt x="1543" y="1101"/>
                  </a:lnTo>
                  <a:lnTo>
                    <a:pt x="1541" y="1084"/>
                  </a:lnTo>
                  <a:lnTo>
                    <a:pt x="1543" y="1068"/>
                  </a:lnTo>
                  <a:lnTo>
                    <a:pt x="1543" y="1066"/>
                  </a:lnTo>
                  <a:lnTo>
                    <a:pt x="1543" y="1064"/>
                  </a:lnTo>
                  <a:lnTo>
                    <a:pt x="1530" y="1047"/>
                  </a:lnTo>
                  <a:lnTo>
                    <a:pt x="1541" y="1025"/>
                  </a:lnTo>
                  <a:lnTo>
                    <a:pt x="1582" y="973"/>
                  </a:lnTo>
                  <a:lnTo>
                    <a:pt x="1617" y="962"/>
                  </a:lnTo>
                  <a:lnTo>
                    <a:pt x="1619" y="962"/>
                  </a:lnTo>
                  <a:lnTo>
                    <a:pt x="1619" y="960"/>
                  </a:lnTo>
                  <a:lnTo>
                    <a:pt x="1639" y="925"/>
                  </a:lnTo>
                  <a:lnTo>
                    <a:pt x="1639" y="925"/>
                  </a:lnTo>
                  <a:lnTo>
                    <a:pt x="1641" y="925"/>
                  </a:lnTo>
                  <a:lnTo>
                    <a:pt x="1647" y="873"/>
                  </a:lnTo>
                  <a:lnTo>
                    <a:pt x="1647" y="871"/>
                  </a:lnTo>
                  <a:lnTo>
                    <a:pt x="1647" y="871"/>
                  </a:lnTo>
                  <a:lnTo>
                    <a:pt x="1650" y="867"/>
                  </a:lnTo>
                  <a:lnTo>
                    <a:pt x="1656" y="819"/>
                  </a:lnTo>
                  <a:lnTo>
                    <a:pt x="1663" y="828"/>
                  </a:lnTo>
                  <a:lnTo>
                    <a:pt x="1658" y="867"/>
                  </a:lnTo>
                  <a:lnTo>
                    <a:pt x="1658" y="869"/>
                  </a:lnTo>
                  <a:lnTo>
                    <a:pt x="1658" y="869"/>
                  </a:lnTo>
                  <a:lnTo>
                    <a:pt x="1676" y="906"/>
                  </a:lnTo>
                  <a:lnTo>
                    <a:pt x="1680" y="964"/>
                  </a:lnTo>
                  <a:lnTo>
                    <a:pt x="1680" y="967"/>
                  </a:lnTo>
                  <a:lnTo>
                    <a:pt x="1680" y="967"/>
                  </a:lnTo>
                  <a:lnTo>
                    <a:pt x="1704" y="1001"/>
                  </a:lnTo>
                  <a:lnTo>
                    <a:pt x="1708" y="1038"/>
                  </a:lnTo>
                  <a:lnTo>
                    <a:pt x="1708" y="1040"/>
                  </a:lnTo>
                  <a:lnTo>
                    <a:pt x="1711" y="1042"/>
                  </a:lnTo>
                  <a:lnTo>
                    <a:pt x="1800" y="1094"/>
                  </a:lnTo>
                  <a:lnTo>
                    <a:pt x="1800" y="1097"/>
                  </a:lnTo>
                  <a:lnTo>
                    <a:pt x="1802" y="1094"/>
                  </a:lnTo>
                  <a:lnTo>
                    <a:pt x="1857" y="1086"/>
                  </a:lnTo>
                  <a:lnTo>
                    <a:pt x="1859" y="1086"/>
                  </a:lnTo>
                  <a:lnTo>
                    <a:pt x="1859" y="1084"/>
                  </a:lnTo>
                  <a:lnTo>
                    <a:pt x="1900" y="1027"/>
                  </a:lnTo>
                  <a:lnTo>
                    <a:pt x="1902" y="1027"/>
                  </a:lnTo>
                  <a:lnTo>
                    <a:pt x="1902" y="102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913" y="967"/>
                  </a:lnTo>
                  <a:lnTo>
                    <a:pt x="1896" y="895"/>
                  </a:lnTo>
                  <a:lnTo>
                    <a:pt x="1898" y="795"/>
                  </a:lnTo>
                  <a:lnTo>
                    <a:pt x="1898" y="793"/>
                  </a:lnTo>
                  <a:lnTo>
                    <a:pt x="1896" y="793"/>
                  </a:lnTo>
                  <a:lnTo>
                    <a:pt x="1885" y="756"/>
                  </a:lnTo>
                  <a:lnTo>
                    <a:pt x="1885" y="756"/>
                  </a:lnTo>
                  <a:lnTo>
                    <a:pt x="1885" y="754"/>
                  </a:lnTo>
                  <a:lnTo>
                    <a:pt x="1857" y="711"/>
                  </a:lnTo>
                  <a:lnTo>
                    <a:pt x="1852" y="678"/>
                  </a:lnTo>
                  <a:lnTo>
                    <a:pt x="1859" y="674"/>
                  </a:lnTo>
                  <a:lnTo>
                    <a:pt x="1874" y="696"/>
                  </a:lnTo>
                  <a:lnTo>
                    <a:pt x="1876" y="698"/>
                  </a:lnTo>
                  <a:lnTo>
                    <a:pt x="1881" y="696"/>
                  </a:lnTo>
                  <a:lnTo>
                    <a:pt x="1898" y="685"/>
                  </a:lnTo>
                  <a:lnTo>
                    <a:pt x="1900" y="683"/>
                  </a:lnTo>
                  <a:lnTo>
                    <a:pt x="1898" y="681"/>
                  </a:lnTo>
                  <a:lnTo>
                    <a:pt x="1883" y="650"/>
                  </a:lnTo>
                  <a:lnTo>
                    <a:pt x="1883" y="648"/>
                  </a:lnTo>
                  <a:lnTo>
                    <a:pt x="1881" y="648"/>
                  </a:lnTo>
                  <a:lnTo>
                    <a:pt x="1822" y="607"/>
                  </a:lnTo>
                  <a:lnTo>
                    <a:pt x="1820" y="607"/>
                  </a:lnTo>
                  <a:lnTo>
                    <a:pt x="1820" y="607"/>
                  </a:lnTo>
                  <a:lnTo>
                    <a:pt x="1732" y="598"/>
                  </a:lnTo>
                  <a:lnTo>
                    <a:pt x="1730" y="598"/>
                  </a:lnTo>
                  <a:lnTo>
                    <a:pt x="1730" y="598"/>
                  </a:lnTo>
                  <a:lnTo>
                    <a:pt x="1713" y="611"/>
                  </a:lnTo>
                  <a:lnTo>
                    <a:pt x="1669" y="635"/>
                  </a:lnTo>
                  <a:lnTo>
                    <a:pt x="1667" y="637"/>
                  </a:lnTo>
                  <a:lnTo>
                    <a:pt x="1669" y="672"/>
                  </a:lnTo>
                  <a:lnTo>
                    <a:pt x="1641" y="717"/>
                  </a:lnTo>
                  <a:lnTo>
                    <a:pt x="1586" y="717"/>
                  </a:lnTo>
                  <a:lnTo>
                    <a:pt x="1584" y="717"/>
                  </a:lnTo>
                  <a:lnTo>
                    <a:pt x="1582" y="720"/>
                  </a:lnTo>
                  <a:lnTo>
                    <a:pt x="1565" y="743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8"/>
                  </a:lnTo>
                  <a:lnTo>
                    <a:pt x="1512" y="806"/>
                  </a:lnTo>
                  <a:lnTo>
                    <a:pt x="1491" y="806"/>
                  </a:lnTo>
                  <a:lnTo>
                    <a:pt x="1488" y="806"/>
                  </a:lnTo>
                  <a:lnTo>
                    <a:pt x="1488" y="806"/>
                  </a:lnTo>
                  <a:lnTo>
                    <a:pt x="1458" y="826"/>
                  </a:lnTo>
                  <a:lnTo>
                    <a:pt x="1436" y="826"/>
                  </a:lnTo>
                  <a:lnTo>
                    <a:pt x="1432" y="826"/>
                  </a:lnTo>
                  <a:lnTo>
                    <a:pt x="1432" y="828"/>
                  </a:lnTo>
                  <a:lnTo>
                    <a:pt x="1423" y="852"/>
                  </a:lnTo>
                  <a:lnTo>
                    <a:pt x="1412" y="869"/>
                  </a:lnTo>
                  <a:lnTo>
                    <a:pt x="1392" y="884"/>
                  </a:lnTo>
                  <a:lnTo>
                    <a:pt x="1395" y="886"/>
                  </a:lnTo>
                  <a:lnTo>
                    <a:pt x="1403" y="904"/>
                  </a:lnTo>
                  <a:lnTo>
                    <a:pt x="1395" y="912"/>
                  </a:lnTo>
                  <a:lnTo>
                    <a:pt x="1353" y="906"/>
                  </a:lnTo>
                  <a:lnTo>
                    <a:pt x="1351" y="906"/>
                  </a:lnTo>
                  <a:lnTo>
                    <a:pt x="1349" y="908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38" y="949"/>
                  </a:lnTo>
                  <a:lnTo>
                    <a:pt x="1329" y="1008"/>
                  </a:lnTo>
                  <a:lnTo>
                    <a:pt x="1310" y="1016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99" y="1001"/>
                  </a:lnTo>
                  <a:lnTo>
                    <a:pt x="1146" y="1003"/>
                  </a:lnTo>
                  <a:lnTo>
                    <a:pt x="1144" y="1003"/>
                  </a:lnTo>
                  <a:lnTo>
                    <a:pt x="1142" y="1003"/>
                  </a:lnTo>
                  <a:lnTo>
                    <a:pt x="1105" y="1003"/>
                  </a:lnTo>
                  <a:lnTo>
                    <a:pt x="1105" y="1003"/>
                  </a:lnTo>
                  <a:lnTo>
                    <a:pt x="1105" y="1006"/>
                  </a:lnTo>
                  <a:lnTo>
                    <a:pt x="1057" y="1021"/>
                  </a:lnTo>
                  <a:lnTo>
                    <a:pt x="1055" y="1023"/>
                  </a:lnTo>
                  <a:lnTo>
                    <a:pt x="1055" y="1025"/>
                  </a:lnTo>
                  <a:lnTo>
                    <a:pt x="1053" y="1062"/>
                  </a:lnTo>
                  <a:lnTo>
                    <a:pt x="1053" y="1064"/>
                  </a:lnTo>
                  <a:lnTo>
                    <a:pt x="1053" y="1064"/>
                  </a:lnTo>
                  <a:lnTo>
                    <a:pt x="1057" y="1079"/>
                  </a:lnTo>
                  <a:lnTo>
                    <a:pt x="1050" y="1084"/>
                  </a:lnTo>
                  <a:lnTo>
                    <a:pt x="1042" y="1064"/>
                  </a:lnTo>
                  <a:lnTo>
                    <a:pt x="1039" y="1062"/>
                  </a:lnTo>
                  <a:lnTo>
                    <a:pt x="1037" y="1062"/>
                  </a:lnTo>
                  <a:lnTo>
                    <a:pt x="1020" y="1060"/>
                  </a:lnTo>
                  <a:lnTo>
                    <a:pt x="994" y="1034"/>
                  </a:lnTo>
                  <a:lnTo>
                    <a:pt x="991" y="1032"/>
                  </a:lnTo>
                  <a:lnTo>
                    <a:pt x="989" y="1034"/>
                  </a:lnTo>
                  <a:lnTo>
                    <a:pt x="954" y="1055"/>
                  </a:lnTo>
                  <a:lnTo>
                    <a:pt x="930" y="1058"/>
                  </a:lnTo>
                  <a:lnTo>
                    <a:pt x="926" y="1058"/>
                  </a:lnTo>
                  <a:lnTo>
                    <a:pt x="904" y="1062"/>
                  </a:lnTo>
                  <a:lnTo>
                    <a:pt x="904" y="1062"/>
                  </a:lnTo>
                  <a:lnTo>
                    <a:pt x="902" y="1062"/>
                  </a:lnTo>
                  <a:lnTo>
                    <a:pt x="867" y="1088"/>
                  </a:lnTo>
                  <a:lnTo>
                    <a:pt x="867" y="1090"/>
                  </a:lnTo>
                  <a:lnTo>
                    <a:pt x="867" y="1090"/>
                  </a:lnTo>
                  <a:lnTo>
                    <a:pt x="848" y="1116"/>
                  </a:lnTo>
                  <a:lnTo>
                    <a:pt x="811" y="1114"/>
                  </a:lnTo>
                  <a:lnTo>
                    <a:pt x="806" y="1114"/>
                  </a:lnTo>
                  <a:lnTo>
                    <a:pt x="806" y="1116"/>
                  </a:lnTo>
                  <a:lnTo>
                    <a:pt x="782" y="1153"/>
                  </a:lnTo>
                  <a:lnTo>
                    <a:pt x="756" y="1157"/>
                  </a:lnTo>
                  <a:lnTo>
                    <a:pt x="754" y="1157"/>
                  </a:lnTo>
                  <a:lnTo>
                    <a:pt x="754" y="1162"/>
                  </a:lnTo>
                  <a:lnTo>
                    <a:pt x="752" y="1190"/>
                  </a:lnTo>
                  <a:lnTo>
                    <a:pt x="713" y="1216"/>
                  </a:lnTo>
                  <a:lnTo>
                    <a:pt x="710" y="1216"/>
                  </a:lnTo>
                  <a:lnTo>
                    <a:pt x="710" y="1220"/>
                  </a:lnTo>
                  <a:lnTo>
                    <a:pt x="713" y="1259"/>
                  </a:lnTo>
                  <a:lnTo>
                    <a:pt x="713" y="1259"/>
                  </a:lnTo>
                  <a:lnTo>
                    <a:pt x="713" y="1261"/>
                  </a:lnTo>
                  <a:lnTo>
                    <a:pt x="728" y="1281"/>
                  </a:lnTo>
                  <a:lnTo>
                    <a:pt x="710" y="1300"/>
                  </a:lnTo>
                  <a:lnTo>
                    <a:pt x="710" y="1302"/>
                  </a:lnTo>
                  <a:lnTo>
                    <a:pt x="710" y="1305"/>
                  </a:lnTo>
                  <a:lnTo>
                    <a:pt x="715" y="1324"/>
                  </a:lnTo>
                  <a:lnTo>
                    <a:pt x="715" y="1326"/>
                  </a:lnTo>
                  <a:lnTo>
                    <a:pt x="717" y="1326"/>
                  </a:lnTo>
                  <a:lnTo>
                    <a:pt x="743" y="1333"/>
                  </a:lnTo>
                  <a:lnTo>
                    <a:pt x="747" y="1357"/>
                  </a:lnTo>
                  <a:lnTo>
                    <a:pt x="739" y="1372"/>
                  </a:lnTo>
                  <a:lnTo>
                    <a:pt x="739" y="1372"/>
                  </a:lnTo>
                  <a:lnTo>
                    <a:pt x="737" y="1376"/>
                  </a:lnTo>
                  <a:lnTo>
                    <a:pt x="737" y="1376"/>
                  </a:lnTo>
                  <a:lnTo>
                    <a:pt x="732" y="1383"/>
                  </a:lnTo>
                  <a:lnTo>
                    <a:pt x="695" y="1404"/>
                  </a:lnTo>
                  <a:lnTo>
                    <a:pt x="695" y="1404"/>
                  </a:lnTo>
                  <a:lnTo>
                    <a:pt x="695" y="1406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75" y="1437"/>
                  </a:lnTo>
                  <a:lnTo>
                    <a:pt x="654" y="1478"/>
                  </a:lnTo>
                  <a:lnTo>
                    <a:pt x="654" y="1480"/>
                  </a:lnTo>
                  <a:lnTo>
                    <a:pt x="654" y="1480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2" y="1515"/>
                  </a:lnTo>
                  <a:lnTo>
                    <a:pt x="658" y="1534"/>
                  </a:lnTo>
                  <a:lnTo>
                    <a:pt x="643" y="1549"/>
                  </a:lnTo>
                  <a:lnTo>
                    <a:pt x="643" y="1552"/>
                  </a:lnTo>
                  <a:lnTo>
                    <a:pt x="643" y="1552"/>
                  </a:lnTo>
                  <a:lnTo>
                    <a:pt x="643" y="1565"/>
                  </a:lnTo>
                  <a:lnTo>
                    <a:pt x="612" y="1562"/>
                  </a:lnTo>
                  <a:lnTo>
                    <a:pt x="593" y="1543"/>
                  </a:lnTo>
                  <a:lnTo>
                    <a:pt x="595" y="1526"/>
                  </a:lnTo>
                  <a:lnTo>
                    <a:pt x="595" y="1521"/>
                  </a:lnTo>
                  <a:lnTo>
                    <a:pt x="590" y="1521"/>
                  </a:lnTo>
                  <a:lnTo>
                    <a:pt x="569" y="1515"/>
                  </a:lnTo>
                  <a:lnTo>
                    <a:pt x="567" y="1515"/>
                  </a:lnTo>
                  <a:lnTo>
                    <a:pt x="564" y="1519"/>
                  </a:lnTo>
                  <a:lnTo>
                    <a:pt x="551" y="1547"/>
                  </a:lnTo>
                  <a:lnTo>
                    <a:pt x="508" y="1586"/>
                  </a:lnTo>
                  <a:lnTo>
                    <a:pt x="505" y="1586"/>
                  </a:lnTo>
                  <a:lnTo>
                    <a:pt x="505" y="1588"/>
                  </a:lnTo>
                  <a:lnTo>
                    <a:pt x="510" y="1614"/>
                  </a:lnTo>
                  <a:lnTo>
                    <a:pt x="510" y="1619"/>
                  </a:lnTo>
                  <a:lnTo>
                    <a:pt x="514" y="1619"/>
                  </a:lnTo>
                  <a:lnTo>
                    <a:pt x="536" y="1617"/>
                  </a:lnTo>
                  <a:lnTo>
                    <a:pt x="551" y="1630"/>
                  </a:lnTo>
                  <a:lnTo>
                    <a:pt x="558" y="1660"/>
                  </a:lnTo>
                  <a:lnTo>
                    <a:pt x="560" y="1664"/>
                  </a:lnTo>
                  <a:lnTo>
                    <a:pt x="562" y="1664"/>
                  </a:lnTo>
                  <a:lnTo>
                    <a:pt x="584" y="1662"/>
                  </a:lnTo>
                  <a:lnTo>
                    <a:pt x="604" y="1664"/>
                  </a:lnTo>
                  <a:lnTo>
                    <a:pt x="604" y="1675"/>
                  </a:lnTo>
                  <a:lnTo>
                    <a:pt x="573" y="1714"/>
                  </a:lnTo>
                  <a:lnTo>
                    <a:pt x="573" y="1716"/>
                  </a:lnTo>
                  <a:lnTo>
                    <a:pt x="571" y="1716"/>
                  </a:lnTo>
                  <a:lnTo>
                    <a:pt x="571" y="1716"/>
                  </a:lnTo>
                  <a:lnTo>
                    <a:pt x="569" y="1716"/>
                  </a:lnTo>
                  <a:lnTo>
                    <a:pt x="551" y="1725"/>
                  </a:lnTo>
                  <a:lnTo>
                    <a:pt x="549" y="1725"/>
                  </a:lnTo>
                  <a:lnTo>
                    <a:pt x="549" y="1727"/>
                  </a:lnTo>
                  <a:lnTo>
                    <a:pt x="540" y="1742"/>
                  </a:lnTo>
                  <a:lnTo>
                    <a:pt x="529" y="1744"/>
                  </a:lnTo>
                  <a:lnTo>
                    <a:pt x="525" y="1747"/>
                  </a:lnTo>
                  <a:lnTo>
                    <a:pt x="525" y="1749"/>
                  </a:lnTo>
                  <a:lnTo>
                    <a:pt x="525" y="1773"/>
                  </a:lnTo>
                  <a:lnTo>
                    <a:pt x="525" y="1775"/>
                  </a:lnTo>
                  <a:lnTo>
                    <a:pt x="527" y="1775"/>
                  </a:lnTo>
                  <a:lnTo>
                    <a:pt x="543" y="1786"/>
                  </a:lnTo>
                  <a:lnTo>
                    <a:pt x="538" y="1825"/>
                  </a:lnTo>
                  <a:lnTo>
                    <a:pt x="538" y="1827"/>
                  </a:lnTo>
                  <a:lnTo>
                    <a:pt x="538" y="1827"/>
                  </a:lnTo>
                  <a:lnTo>
                    <a:pt x="523" y="1848"/>
                  </a:lnTo>
                  <a:lnTo>
                    <a:pt x="521" y="1848"/>
                  </a:lnTo>
                  <a:lnTo>
                    <a:pt x="521" y="1848"/>
                  </a:lnTo>
                  <a:lnTo>
                    <a:pt x="514" y="1862"/>
                  </a:lnTo>
                  <a:lnTo>
                    <a:pt x="512" y="1862"/>
                  </a:lnTo>
                  <a:lnTo>
                    <a:pt x="512" y="1864"/>
                  </a:lnTo>
                  <a:lnTo>
                    <a:pt x="516" y="1881"/>
                  </a:lnTo>
                  <a:lnTo>
                    <a:pt x="516" y="1883"/>
                  </a:lnTo>
                  <a:lnTo>
                    <a:pt x="519" y="1883"/>
                  </a:lnTo>
                  <a:lnTo>
                    <a:pt x="534" y="1890"/>
                  </a:lnTo>
                  <a:lnTo>
                    <a:pt x="532" y="1914"/>
                  </a:lnTo>
                  <a:lnTo>
                    <a:pt x="532" y="1916"/>
                  </a:lnTo>
                  <a:lnTo>
                    <a:pt x="534" y="1918"/>
                  </a:lnTo>
                  <a:lnTo>
                    <a:pt x="575" y="1944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575" y="1992"/>
                  </a:lnTo>
                  <a:lnTo>
                    <a:pt x="610" y="2057"/>
                  </a:lnTo>
                  <a:lnTo>
                    <a:pt x="610" y="2059"/>
                  </a:lnTo>
                  <a:lnTo>
                    <a:pt x="612" y="2061"/>
                  </a:lnTo>
                  <a:lnTo>
                    <a:pt x="621" y="2078"/>
                  </a:lnTo>
                  <a:lnTo>
                    <a:pt x="619" y="2115"/>
                  </a:lnTo>
                  <a:lnTo>
                    <a:pt x="619" y="2115"/>
                  </a:lnTo>
                  <a:lnTo>
                    <a:pt x="619" y="2122"/>
                  </a:lnTo>
                  <a:lnTo>
                    <a:pt x="619" y="2122"/>
                  </a:lnTo>
                  <a:lnTo>
                    <a:pt x="619" y="2124"/>
                  </a:lnTo>
                  <a:lnTo>
                    <a:pt x="619" y="2130"/>
                  </a:lnTo>
                  <a:lnTo>
                    <a:pt x="588" y="2128"/>
                  </a:lnTo>
                  <a:lnTo>
                    <a:pt x="586" y="2128"/>
                  </a:lnTo>
                  <a:lnTo>
                    <a:pt x="584" y="2130"/>
                  </a:lnTo>
                  <a:lnTo>
                    <a:pt x="571" y="2150"/>
                  </a:lnTo>
                  <a:lnTo>
                    <a:pt x="556" y="2152"/>
                  </a:lnTo>
                  <a:lnTo>
                    <a:pt x="553" y="2152"/>
                  </a:lnTo>
                  <a:lnTo>
                    <a:pt x="551" y="2154"/>
                  </a:lnTo>
                  <a:lnTo>
                    <a:pt x="532" y="2191"/>
                  </a:lnTo>
                  <a:lnTo>
                    <a:pt x="499" y="2202"/>
                  </a:lnTo>
                  <a:lnTo>
                    <a:pt x="475" y="2167"/>
                  </a:lnTo>
                  <a:lnTo>
                    <a:pt x="475" y="2165"/>
                  </a:lnTo>
                  <a:lnTo>
                    <a:pt x="473" y="2165"/>
                  </a:lnTo>
                  <a:lnTo>
                    <a:pt x="412" y="2158"/>
                  </a:lnTo>
                  <a:lnTo>
                    <a:pt x="410" y="2156"/>
                  </a:lnTo>
                  <a:lnTo>
                    <a:pt x="407" y="2158"/>
                  </a:lnTo>
                  <a:lnTo>
                    <a:pt x="379" y="2189"/>
                  </a:lnTo>
                  <a:lnTo>
                    <a:pt x="375" y="2191"/>
                  </a:lnTo>
                  <a:lnTo>
                    <a:pt x="379" y="2195"/>
                  </a:lnTo>
                  <a:lnTo>
                    <a:pt x="436" y="2228"/>
                  </a:lnTo>
                  <a:lnTo>
                    <a:pt x="425" y="2234"/>
                  </a:lnTo>
                  <a:lnTo>
                    <a:pt x="394" y="2217"/>
                  </a:lnTo>
                  <a:lnTo>
                    <a:pt x="392" y="2215"/>
                  </a:lnTo>
                  <a:lnTo>
                    <a:pt x="390" y="2217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73" y="2230"/>
                  </a:lnTo>
                  <a:lnTo>
                    <a:pt x="329" y="2191"/>
                  </a:lnTo>
                  <a:lnTo>
                    <a:pt x="325" y="2187"/>
                  </a:lnTo>
                  <a:lnTo>
                    <a:pt x="322" y="2193"/>
                  </a:lnTo>
                  <a:lnTo>
                    <a:pt x="318" y="2243"/>
                  </a:lnTo>
                  <a:lnTo>
                    <a:pt x="301" y="2234"/>
                  </a:lnTo>
                  <a:lnTo>
                    <a:pt x="301" y="2232"/>
                  </a:lnTo>
                  <a:lnTo>
                    <a:pt x="298" y="2232"/>
                  </a:lnTo>
                  <a:lnTo>
                    <a:pt x="255" y="2236"/>
                  </a:lnTo>
                  <a:lnTo>
                    <a:pt x="253" y="2236"/>
                  </a:lnTo>
                  <a:lnTo>
                    <a:pt x="253" y="2236"/>
                  </a:lnTo>
                  <a:lnTo>
                    <a:pt x="240" y="2252"/>
                  </a:lnTo>
                  <a:lnTo>
                    <a:pt x="211" y="2204"/>
                  </a:lnTo>
                  <a:lnTo>
                    <a:pt x="209" y="2200"/>
                  </a:lnTo>
                  <a:lnTo>
                    <a:pt x="205" y="2204"/>
                  </a:lnTo>
                  <a:lnTo>
                    <a:pt x="181" y="2226"/>
                  </a:lnTo>
                  <a:lnTo>
                    <a:pt x="179" y="2228"/>
                  </a:lnTo>
                  <a:lnTo>
                    <a:pt x="179" y="2230"/>
                  </a:lnTo>
                  <a:lnTo>
                    <a:pt x="181" y="2267"/>
                  </a:lnTo>
                  <a:lnTo>
                    <a:pt x="170" y="2282"/>
                  </a:lnTo>
                  <a:lnTo>
                    <a:pt x="168" y="2282"/>
                  </a:lnTo>
                  <a:lnTo>
                    <a:pt x="168" y="2284"/>
                  </a:lnTo>
                  <a:lnTo>
                    <a:pt x="174" y="2304"/>
                  </a:lnTo>
                  <a:lnTo>
                    <a:pt x="176" y="2304"/>
                  </a:lnTo>
                  <a:lnTo>
                    <a:pt x="192" y="2317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192" y="2343"/>
                  </a:lnTo>
                  <a:lnTo>
                    <a:pt x="200" y="2388"/>
                  </a:lnTo>
                  <a:lnTo>
                    <a:pt x="198" y="2429"/>
                  </a:lnTo>
                  <a:lnTo>
                    <a:pt x="189" y="2499"/>
                  </a:lnTo>
                  <a:lnTo>
                    <a:pt x="189" y="2501"/>
                  </a:lnTo>
                  <a:lnTo>
                    <a:pt x="192" y="2501"/>
                  </a:lnTo>
                  <a:lnTo>
                    <a:pt x="200" y="2514"/>
                  </a:lnTo>
                  <a:lnTo>
                    <a:pt x="203" y="2516"/>
                  </a:lnTo>
                  <a:lnTo>
                    <a:pt x="205" y="2516"/>
                  </a:lnTo>
                  <a:lnTo>
                    <a:pt x="220" y="2509"/>
                  </a:lnTo>
                  <a:lnTo>
                    <a:pt x="229" y="2525"/>
                  </a:lnTo>
                  <a:lnTo>
                    <a:pt x="231" y="2529"/>
                  </a:lnTo>
                  <a:lnTo>
                    <a:pt x="231" y="2529"/>
                  </a:lnTo>
                  <a:lnTo>
                    <a:pt x="259" y="2574"/>
                  </a:lnTo>
                  <a:lnTo>
                    <a:pt x="259" y="2603"/>
                  </a:lnTo>
                  <a:lnTo>
                    <a:pt x="259" y="2605"/>
                  </a:lnTo>
                  <a:lnTo>
                    <a:pt x="288" y="2635"/>
                  </a:lnTo>
                  <a:lnTo>
                    <a:pt x="288" y="2635"/>
                  </a:lnTo>
                  <a:lnTo>
                    <a:pt x="292" y="2637"/>
                  </a:lnTo>
                  <a:lnTo>
                    <a:pt x="314" y="2663"/>
                  </a:lnTo>
                  <a:lnTo>
                    <a:pt x="316" y="2698"/>
                  </a:lnTo>
                  <a:lnTo>
                    <a:pt x="316" y="2700"/>
                  </a:lnTo>
                  <a:lnTo>
                    <a:pt x="316" y="2700"/>
                  </a:lnTo>
                  <a:lnTo>
                    <a:pt x="322" y="2711"/>
                  </a:lnTo>
                  <a:lnTo>
                    <a:pt x="322" y="2713"/>
                  </a:lnTo>
                  <a:lnTo>
                    <a:pt x="322" y="2713"/>
                  </a:lnTo>
                  <a:lnTo>
                    <a:pt x="325" y="2752"/>
                  </a:lnTo>
                  <a:lnTo>
                    <a:pt x="325" y="2754"/>
                  </a:lnTo>
                  <a:lnTo>
                    <a:pt x="327" y="2756"/>
                  </a:lnTo>
                  <a:lnTo>
                    <a:pt x="370" y="2776"/>
                  </a:lnTo>
                  <a:lnTo>
                    <a:pt x="370" y="2780"/>
                  </a:lnTo>
                  <a:lnTo>
                    <a:pt x="370" y="2782"/>
                  </a:lnTo>
                  <a:lnTo>
                    <a:pt x="370" y="2782"/>
                  </a:lnTo>
                  <a:lnTo>
                    <a:pt x="370" y="2787"/>
                  </a:lnTo>
                  <a:lnTo>
                    <a:pt x="370" y="2787"/>
                  </a:lnTo>
                  <a:lnTo>
                    <a:pt x="373" y="2793"/>
                  </a:lnTo>
                  <a:lnTo>
                    <a:pt x="373" y="2795"/>
                  </a:lnTo>
                  <a:lnTo>
                    <a:pt x="373" y="2798"/>
                  </a:lnTo>
                  <a:lnTo>
                    <a:pt x="386" y="2806"/>
                  </a:lnTo>
                  <a:lnTo>
                    <a:pt x="386" y="2806"/>
                  </a:lnTo>
                  <a:lnTo>
                    <a:pt x="388" y="2808"/>
                  </a:lnTo>
                  <a:lnTo>
                    <a:pt x="394" y="2830"/>
                  </a:lnTo>
                  <a:lnTo>
                    <a:pt x="399" y="2845"/>
                  </a:lnTo>
                  <a:lnTo>
                    <a:pt x="399" y="2845"/>
                  </a:lnTo>
                  <a:lnTo>
                    <a:pt x="386" y="2858"/>
                  </a:lnTo>
                  <a:lnTo>
                    <a:pt x="383" y="2858"/>
                  </a:lnTo>
                  <a:lnTo>
                    <a:pt x="383" y="2860"/>
                  </a:lnTo>
                  <a:lnTo>
                    <a:pt x="386" y="2895"/>
                  </a:lnTo>
                  <a:lnTo>
                    <a:pt x="388" y="2895"/>
                  </a:lnTo>
                  <a:lnTo>
                    <a:pt x="388" y="2897"/>
                  </a:lnTo>
                  <a:lnTo>
                    <a:pt x="418" y="2941"/>
                  </a:lnTo>
                  <a:lnTo>
                    <a:pt x="416" y="2986"/>
                  </a:lnTo>
                  <a:lnTo>
                    <a:pt x="410" y="3010"/>
                  </a:lnTo>
                  <a:lnTo>
                    <a:pt x="410" y="3010"/>
                  </a:lnTo>
                  <a:lnTo>
                    <a:pt x="412" y="3012"/>
                  </a:lnTo>
                  <a:lnTo>
                    <a:pt x="440" y="3047"/>
                  </a:lnTo>
                  <a:lnTo>
                    <a:pt x="442" y="3051"/>
                  </a:lnTo>
                  <a:lnTo>
                    <a:pt x="444" y="3049"/>
                  </a:lnTo>
                  <a:lnTo>
                    <a:pt x="458" y="3042"/>
                  </a:lnTo>
                  <a:lnTo>
                    <a:pt x="460" y="3042"/>
                  </a:lnTo>
                  <a:lnTo>
                    <a:pt x="460" y="3042"/>
                  </a:lnTo>
                  <a:lnTo>
                    <a:pt x="466" y="3032"/>
                  </a:lnTo>
                  <a:lnTo>
                    <a:pt x="479" y="3038"/>
                  </a:lnTo>
                  <a:lnTo>
                    <a:pt x="479" y="3038"/>
                  </a:lnTo>
                  <a:lnTo>
                    <a:pt x="482" y="3038"/>
                  </a:lnTo>
                  <a:lnTo>
                    <a:pt x="499" y="3045"/>
                  </a:lnTo>
                  <a:lnTo>
                    <a:pt x="501" y="3045"/>
                  </a:lnTo>
                  <a:lnTo>
                    <a:pt x="503" y="3045"/>
                  </a:lnTo>
                  <a:lnTo>
                    <a:pt x="523" y="3029"/>
                  </a:lnTo>
                  <a:lnTo>
                    <a:pt x="525" y="3029"/>
                  </a:lnTo>
                  <a:lnTo>
                    <a:pt x="525" y="2967"/>
                  </a:lnTo>
                  <a:lnTo>
                    <a:pt x="540" y="2884"/>
                  </a:lnTo>
                  <a:lnTo>
                    <a:pt x="595" y="2832"/>
                  </a:lnTo>
                  <a:lnTo>
                    <a:pt x="595" y="2832"/>
                  </a:lnTo>
                  <a:lnTo>
                    <a:pt x="595" y="2830"/>
                  </a:lnTo>
                  <a:lnTo>
                    <a:pt x="599" y="2776"/>
                  </a:lnTo>
                  <a:lnTo>
                    <a:pt x="599" y="2776"/>
                  </a:lnTo>
                  <a:lnTo>
                    <a:pt x="599" y="2774"/>
                  </a:lnTo>
                  <a:lnTo>
                    <a:pt x="595" y="2754"/>
                  </a:lnTo>
                  <a:lnTo>
                    <a:pt x="619" y="2735"/>
                  </a:lnTo>
                  <a:lnTo>
                    <a:pt x="619" y="2735"/>
                  </a:lnTo>
                  <a:lnTo>
                    <a:pt x="621" y="2735"/>
                  </a:lnTo>
                  <a:lnTo>
                    <a:pt x="656" y="2737"/>
                  </a:lnTo>
                  <a:lnTo>
                    <a:pt x="656" y="2737"/>
                  </a:lnTo>
                  <a:lnTo>
                    <a:pt x="658" y="2735"/>
                  </a:lnTo>
                  <a:lnTo>
                    <a:pt x="691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693" y="2720"/>
                  </a:lnTo>
                  <a:lnTo>
                    <a:pt x="730" y="2733"/>
                  </a:lnTo>
                  <a:lnTo>
                    <a:pt x="730" y="2733"/>
                  </a:lnTo>
                  <a:lnTo>
                    <a:pt x="732" y="2733"/>
                  </a:lnTo>
                  <a:lnTo>
                    <a:pt x="826" y="2730"/>
                  </a:lnTo>
                  <a:lnTo>
                    <a:pt x="832" y="2730"/>
                  </a:lnTo>
                  <a:lnTo>
                    <a:pt x="830" y="2726"/>
                  </a:lnTo>
                  <a:lnTo>
                    <a:pt x="824" y="2694"/>
                  </a:lnTo>
                  <a:lnTo>
                    <a:pt x="843" y="2689"/>
                  </a:lnTo>
                  <a:lnTo>
                    <a:pt x="845" y="2689"/>
                  </a:lnTo>
                  <a:lnTo>
                    <a:pt x="848" y="2687"/>
                  </a:lnTo>
                  <a:lnTo>
                    <a:pt x="865" y="2585"/>
                  </a:lnTo>
                  <a:lnTo>
                    <a:pt x="865" y="2583"/>
                  </a:lnTo>
                  <a:lnTo>
                    <a:pt x="865" y="2581"/>
                  </a:lnTo>
                  <a:lnTo>
                    <a:pt x="848" y="2559"/>
                  </a:lnTo>
                  <a:lnTo>
                    <a:pt x="848" y="2559"/>
                  </a:lnTo>
                  <a:lnTo>
                    <a:pt x="845" y="2557"/>
                  </a:lnTo>
                  <a:lnTo>
                    <a:pt x="826" y="2553"/>
                  </a:lnTo>
                  <a:lnTo>
                    <a:pt x="828" y="2540"/>
                  </a:lnTo>
                  <a:lnTo>
                    <a:pt x="856" y="2514"/>
                  </a:lnTo>
                  <a:lnTo>
                    <a:pt x="859" y="2512"/>
                  </a:lnTo>
                  <a:lnTo>
                    <a:pt x="856" y="2507"/>
                  </a:lnTo>
                  <a:lnTo>
                    <a:pt x="835" y="2475"/>
                  </a:lnTo>
                  <a:lnTo>
                    <a:pt x="843" y="2470"/>
                  </a:lnTo>
                  <a:lnTo>
                    <a:pt x="859" y="2464"/>
                  </a:lnTo>
                  <a:lnTo>
                    <a:pt x="861" y="2462"/>
                  </a:lnTo>
                  <a:lnTo>
                    <a:pt x="863" y="2462"/>
                  </a:lnTo>
                  <a:lnTo>
                    <a:pt x="900" y="2449"/>
                  </a:lnTo>
                  <a:lnTo>
                    <a:pt x="902" y="2449"/>
                  </a:lnTo>
                  <a:lnTo>
                    <a:pt x="904" y="2447"/>
                  </a:lnTo>
                  <a:lnTo>
                    <a:pt x="909" y="2418"/>
                  </a:lnTo>
                  <a:lnTo>
                    <a:pt x="939" y="2401"/>
                  </a:lnTo>
                  <a:lnTo>
                    <a:pt x="974" y="2392"/>
                  </a:lnTo>
                  <a:lnTo>
                    <a:pt x="974" y="2392"/>
                  </a:lnTo>
                  <a:lnTo>
                    <a:pt x="987" y="2388"/>
                  </a:lnTo>
                  <a:lnTo>
                    <a:pt x="987" y="2390"/>
                  </a:lnTo>
                  <a:lnTo>
                    <a:pt x="1007" y="2408"/>
                  </a:lnTo>
                  <a:lnTo>
                    <a:pt x="1007" y="2429"/>
                  </a:lnTo>
                  <a:lnTo>
                    <a:pt x="1000" y="2447"/>
                  </a:lnTo>
                  <a:lnTo>
                    <a:pt x="1000" y="2449"/>
                  </a:lnTo>
                  <a:lnTo>
                    <a:pt x="1000" y="2449"/>
                  </a:lnTo>
                  <a:lnTo>
                    <a:pt x="1013" y="2473"/>
                  </a:lnTo>
                  <a:lnTo>
                    <a:pt x="1015" y="2475"/>
                  </a:lnTo>
                  <a:lnTo>
                    <a:pt x="1018" y="2475"/>
                  </a:lnTo>
                  <a:lnTo>
                    <a:pt x="1044" y="2464"/>
                  </a:lnTo>
                  <a:lnTo>
                    <a:pt x="1044" y="2462"/>
                  </a:lnTo>
                  <a:lnTo>
                    <a:pt x="1046" y="2462"/>
                  </a:lnTo>
                  <a:lnTo>
                    <a:pt x="1057" y="2436"/>
                  </a:lnTo>
                  <a:lnTo>
                    <a:pt x="1070" y="2423"/>
                  </a:lnTo>
                  <a:lnTo>
                    <a:pt x="1103" y="2429"/>
                  </a:lnTo>
                  <a:lnTo>
                    <a:pt x="1105" y="2429"/>
                  </a:lnTo>
                  <a:lnTo>
                    <a:pt x="1107" y="2429"/>
                  </a:lnTo>
                  <a:lnTo>
                    <a:pt x="1124" y="2414"/>
                  </a:lnTo>
                  <a:lnTo>
                    <a:pt x="1135" y="2412"/>
                  </a:lnTo>
                  <a:lnTo>
                    <a:pt x="1144" y="2418"/>
                  </a:lnTo>
                  <a:lnTo>
                    <a:pt x="1146" y="2421"/>
                  </a:lnTo>
                  <a:lnTo>
                    <a:pt x="1148" y="2421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183" y="2418"/>
                  </a:lnTo>
                  <a:lnTo>
                    <a:pt x="1209" y="2412"/>
                  </a:lnTo>
                  <a:lnTo>
                    <a:pt x="1225" y="2408"/>
                  </a:lnTo>
                  <a:lnTo>
                    <a:pt x="1225" y="2431"/>
                  </a:lnTo>
                  <a:lnTo>
                    <a:pt x="1225" y="2434"/>
                  </a:lnTo>
                  <a:lnTo>
                    <a:pt x="1225" y="2434"/>
                  </a:lnTo>
                  <a:lnTo>
                    <a:pt x="1238" y="2466"/>
                  </a:lnTo>
                  <a:lnTo>
                    <a:pt x="1240" y="2470"/>
                  </a:lnTo>
                  <a:lnTo>
                    <a:pt x="1242" y="2468"/>
                  </a:lnTo>
                  <a:lnTo>
                    <a:pt x="1260" y="2466"/>
                  </a:lnTo>
                  <a:lnTo>
                    <a:pt x="1260" y="2466"/>
                  </a:lnTo>
                  <a:lnTo>
                    <a:pt x="1262" y="2464"/>
                  </a:lnTo>
                  <a:lnTo>
                    <a:pt x="1270" y="2455"/>
                  </a:lnTo>
                  <a:lnTo>
                    <a:pt x="1288" y="2466"/>
                  </a:lnTo>
                  <a:lnTo>
                    <a:pt x="1288" y="2477"/>
                  </a:lnTo>
                  <a:lnTo>
                    <a:pt x="1281" y="2492"/>
                  </a:lnTo>
                  <a:lnTo>
                    <a:pt x="1281" y="2494"/>
                  </a:lnTo>
                  <a:lnTo>
                    <a:pt x="1281" y="2496"/>
                  </a:lnTo>
                  <a:lnTo>
                    <a:pt x="1290" y="2505"/>
                  </a:lnTo>
                  <a:lnTo>
                    <a:pt x="1290" y="2505"/>
                  </a:lnTo>
                  <a:lnTo>
                    <a:pt x="1292" y="2505"/>
                  </a:lnTo>
                  <a:lnTo>
                    <a:pt x="1312" y="2514"/>
                  </a:lnTo>
                  <a:lnTo>
                    <a:pt x="1321" y="2542"/>
                  </a:lnTo>
                  <a:lnTo>
                    <a:pt x="1329" y="2581"/>
                  </a:lnTo>
                  <a:lnTo>
                    <a:pt x="1321" y="2605"/>
                  </a:lnTo>
                  <a:lnTo>
                    <a:pt x="1318" y="2607"/>
                  </a:lnTo>
                  <a:lnTo>
                    <a:pt x="1331" y="2629"/>
                  </a:lnTo>
                  <a:lnTo>
                    <a:pt x="1331" y="2633"/>
                  </a:lnTo>
                  <a:lnTo>
                    <a:pt x="1336" y="2631"/>
                  </a:lnTo>
                  <a:lnTo>
                    <a:pt x="1362" y="2616"/>
                  </a:lnTo>
                  <a:lnTo>
                    <a:pt x="1369" y="2618"/>
                  </a:lnTo>
                  <a:lnTo>
                    <a:pt x="1375" y="2633"/>
                  </a:lnTo>
                  <a:lnTo>
                    <a:pt x="1382" y="2661"/>
                  </a:lnTo>
                  <a:lnTo>
                    <a:pt x="1382" y="2663"/>
                  </a:lnTo>
                  <a:lnTo>
                    <a:pt x="1384" y="2663"/>
                  </a:lnTo>
                  <a:lnTo>
                    <a:pt x="1399" y="2676"/>
                  </a:lnTo>
                  <a:lnTo>
                    <a:pt x="1403" y="2678"/>
                  </a:lnTo>
                  <a:lnTo>
                    <a:pt x="1406" y="2676"/>
                  </a:lnTo>
                  <a:lnTo>
                    <a:pt x="1425" y="2663"/>
                  </a:lnTo>
                  <a:lnTo>
                    <a:pt x="1440" y="2665"/>
                  </a:lnTo>
                  <a:lnTo>
                    <a:pt x="1475" y="2678"/>
                  </a:lnTo>
                  <a:lnTo>
                    <a:pt x="1473" y="2694"/>
                  </a:lnTo>
                  <a:lnTo>
                    <a:pt x="1473" y="2694"/>
                  </a:lnTo>
                  <a:lnTo>
                    <a:pt x="1473" y="2696"/>
                  </a:lnTo>
                  <a:lnTo>
                    <a:pt x="1482" y="2709"/>
                  </a:lnTo>
                  <a:lnTo>
                    <a:pt x="1482" y="2711"/>
                  </a:lnTo>
                  <a:lnTo>
                    <a:pt x="1484" y="2711"/>
                  </a:lnTo>
                  <a:lnTo>
                    <a:pt x="1504" y="2715"/>
                  </a:lnTo>
                  <a:lnTo>
                    <a:pt x="1506" y="2715"/>
                  </a:lnTo>
                  <a:lnTo>
                    <a:pt x="1506" y="2713"/>
                  </a:lnTo>
                  <a:lnTo>
                    <a:pt x="1519" y="2700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32" y="2713"/>
                  </a:lnTo>
                  <a:lnTo>
                    <a:pt x="1549" y="2724"/>
                  </a:lnTo>
                  <a:lnTo>
                    <a:pt x="1547" y="2754"/>
                  </a:lnTo>
                  <a:lnTo>
                    <a:pt x="1545" y="2754"/>
                  </a:lnTo>
                  <a:lnTo>
                    <a:pt x="1547" y="2754"/>
                  </a:lnTo>
                  <a:lnTo>
                    <a:pt x="1552" y="2774"/>
                  </a:lnTo>
                  <a:lnTo>
                    <a:pt x="1552" y="2774"/>
                  </a:lnTo>
                  <a:lnTo>
                    <a:pt x="1552" y="2776"/>
                  </a:lnTo>
                  <a:lnTo>
                    <a:pt x="1571" y="2798"/>
                  </a:lnTo>
                  <a:lnTo>
                    <a:pt x="1573" y="2798"/>
                  </a:lnTo>
                  <a:lnTo>
                    <a:pt x="1573" y="2800"/>
                  </a:lnTo>
                  <a:lnTo>
                    <a:pt x="1591" y="2804"/>
                  </a:lnTo>
                  <a:lnTo>
                    <a:pt x="1593" y="2806"/>
                  </a:lnTo>
                  <a:lnTo>
                    <a:pt x="1595" y="2804"/>
                  </a:lnTo>
                  <a:lnTo>
                    <a:pt x="1610" y="2795"/>
                  </a:lnTo>
                  <a:lnTo>
                    <a:pt x="1621" y="2798"/>
                  </a:lnTo>
                  <a:lnTo>
                    <a:pt x="1630" y="2817"/>
                  </a:lnTo>
                  <a:lnTo>
                    <a:pt x="1630" y="2819"/>
                  </a:lnTo>
                  <a:lnTo>
                    <a:pt x="1632" y="2819"/>
                  </a:lnTo>
                  <a:lnTo>
                    <a:pt x="1674" y="2832"/>
                  </a:lnTo>
                  <a:lnTo>
                    <a:pt x="1676" y="2834"/>
                  </a:lnTo>
                  <a:lnTo>
                    <a:pt x="1678" y="2832"/>
                  </a:lnTo>
                  <a:lnTo>
                    <a:pt x="1695" y="2819"/>
                  </a:lnTo>
                  <a:lnTo>
                    <a:pt x="1698" y="2819"/>
                  </a:lnTo>
                  <a:lnTo>
                    <a:pt x="1698" y="2817"/>
                  </a:lnTo>
                  <a:lnTo>
                    <a:pt x="1715" y="2791"/>
                  </a:lnTo>
                  <a:lnTo>
                    <a:pt x="1717" y="2789"/>
                  </a:lnTo>
                  <a:lnTo>
                    <a:pt x="1715" y="2787"/>
                  </a:lnTo>
                  <a:lnTo>
                    <a:pt x="1685" y="2717"/>
                  </a:lnTo>
                  <a:lnTo>
                    <a:pt x="1682" y="2717"/>
                  </a:lnTo>
                  <a:lnTo>
                    <a:pt x="1682" y="2715"/>
                  </a:lnTo>
                  <a:lnTo>
                    <a:pt x="1682" y="2715"/>
                  </a:lnTo>
                  <a:lnTo>
                    <a:pt x="1695" y="2700"/>
                  </a:lnTo>
                  <a:lnTo>
                    <a:pt x="1737" y="2698"/>
                  </a:lnTo>
                  <a:lnTo>
                    <a:pt x="1739" y="2698"/>
                  </a:lnTo>
                  <a:lnTo>
                    <a:pt x="1739" y="2694"/>
                  </a:lnTo>
                  <a:lnTo>
                    <a:pt x="1743" y="2665"/>
                  </a:lnTo>
                  <a:lnTo>
                    <a:pt x="1761" y="2655"/>
                  </a:lnTo>
                  <a:lnTo>
                    <a:pt x="1780" y="2657"/>
                  </a:lnTo>
                  <a:lnTo>
                    <a:pt x="1804" y="2676"/>
                  </a:lnTo>
                  <a:lnTo>
                    <a:pt x="1809" y="2678"/>
                  </a:lnTo>
                  <a:lnTo>
                    <a:pt x="1811" y="2676"/>
                  </a:lnTo>
                  <a:lnTo>
                    <a:pt x="1826" y="2661"/>
                  </a:lnTo>
                  <a:lnTo>
                    <a:pt x="1828" y="2659"/>
                  </a:lnTo>
                  <a:lnTo>
                    <a:pt x="1826" y="2657"/>
                  </a:lnTo>
                  <a:lnTo>
                    <a:pt x="1809" y="2624"/>
                  </a:lnTo>
                  <a:lnTo>
                    <a:pt x="1800" y="2596"/>
                  </a:lnTo>
                  <a:lnTo>
                    <a:pt x="1820" y="2577"/>
                  </a:lnTo>
                  <a:lnTo>
                    <a:pt x="1835" y="2572"/>
                  </a:lnTo>
                  <a:lnTo>
                    <a:pt x="1863" y="2600"/>
                  </a:lnTo>
                  <a:lnTo>
                    <a:pt x="1863" y="2603"/>
                  </a:lnTo>
                  <a:lnTo>
                    <a:pt x="1865" y="2603"/>
                  </a:lnTo>
                  <a:lnTo>
                    <a:pt x="1926" y="2607"/>
                  </a:lnTo>
                  <a:lnTo>
                    <a:pt x="1929" y="2607"/>
                  </a:lnTo>
                  <a:lnTo>
                    <a:pt x="1931" y="2607"/>
                  </a:lnTo>
                  <a:lnTo>
                    <a:pt x="1994" y="2622"/>
                  </a:lnTo>
                  <a:lnTo>
                    <a:pt x="2029" y="2644"/>
                  </a:lnTo>
                  <a:lnTo>
                    <a:pt x="2031" y="2646"/>
                  </a:lnTo>
                  <a:lnTo>
                    <a:pt x="2035" y="2644"/>
                  </a:lnTo>
                  <a:lnTo>
                    <a:pt x="2053" y="2629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083" y="2644"/>
                  </a:lnTo>
                  <a:lnTo>
                    <a:pt x="2192" y="2665"/>
                  </a:lnTo>
                  <a:lnTo>
                    <a:pt x="2192" y="2665"/>
                  </a:lnTo>
                  <a:lnTo>
                    <a:pt x="2194" y="2663"/>
                  </a:lnTo>
                  <a:lnTo>
                    <a:pt x="2234" y="2646"/>
                  </a:lnTo>
                  <a:lnTo>
                    <a:pt x="2234" y="2646"/>
                  </a:lnTo>
                  <a:lnTo>
                    <a:pt x="2236" y="2646"/>
                  </a:lnTo>
                  <a:lnTo>
                    <a:pt x="2264" y="2646"/>
                  </a:lnTo>
                  <a:lnTo>
                    <a:pt x="2290" y="2687"/>
                  </a:lnTo>
                  <a:lnTo>
                    <a:pt x="2290" y="2689"/>
                  </a:lnTo>
                  <a:lnTo>
                    <a:pt x="2293" y="2689"/>
                  </a:lnTo>
                  <a:lnTo>
                    <a:pt x="2314" y="2694"/>
                  </a:lnTo>
                  <a:lnTo>
                    <a:pt x="2317" y="2694"/>
                  </a:lnTo>
                  <a:lnTo>
                    <a:pt x="2319" y="2694"/>
                  </a:lnTo>
                  <a:lnTo>
                    <a:pt x="2332" y="2698"/>
                  </a:lnTo>
                  <a:lnTo>
                    <a:pt x="2332" y="2722"/>
                  </a:lnTo>
                  <a:lnTo>
                    <a:pt x="2323" y="2733"/>
                  </a:lnTo>
                  <a:lnTo>
                    <a:pt x="2321" y="2735"/>
                  </a:lnTo>
                  <a:lnTo>
                    <a:pt x="2323" y="2737"/>
                  </a:lnTo>
                  <a:lnTo>
                    <a:pt x="2327" y="2754"/>
                  </a:lnTo>
                  <a:lnTo>
                    <a:pt x="2308" y="2778"/>
                  </a:lnTo>
                  <a:lnTo>
                    <a:pt x="2306" y="2780"/>
                  </a:lnTo>
                  <a:lnTo>
                    <a:pt x="2306" y="2782"/>
                  </a:lnTo>
                  <a:lnTo>
                    <a:pt x="2310" y="2802"/>
                  </a:lnTo>
                  <a:lnTo>
                    <a:pt x="2312" y="2804"/>
                  </a:lnTo>
                  <a:lnTo>
                    <a:pt x="2314" y="2804"/>
                  </a:lnTo>
                  <a:lnTo>
                    <a:pt x="2360" y="2815"/>
                  </a:lnTo>
                  <a:lnTo>
                    <a:pt x="2362" y="2839"/>
                  </a:lnTo>
                  <a:lnTo>
                    <a:pt x="2362" y="2843"/>
                  </a:lnTo>
                  <a:lnTo>
                    <a:pt x="2367" y="2843"/>
                  </a:lnTo>
                  <a:lnTo>
                    <a:pt x="2388" y="2843"/>
                  </a:lnTo>
                  <a:lnTo>
                    <a:pt x="2406" y="2847"/>
                  </a:lnTo>
                  <a:lnTo>
                    <a:pt x="2421" y="2863"/>
                  </a:lnTo>
                  <a:lnTo>
                    <a:pt x="2397" y="2882"/>
                  </a:lnTo>
                  <a:lnTo>
                    <a:pt x="2397" y="2884"/>
                  </a:lnTo>
                  <a:lnTo>
                    <a:pt x="2397" y="2910"/>
                  </a:lnTo>
                  <a:lnTo>
                    <a:pt x="2402" y="2908"/>
                  </a:lnTo>
                  <a:lnTo>
                    <a:pt x="2426" y="2899"/>
                  </a:lnTo>
                  <a:lnTo>
                    <a:pt x="2447" y="2912"/>
                  </a:lnTo>
                  <a:lnTo>
                    <a:pt x="2449" y="2912"/>
                  </a:lnTo>
                  <a:lnTo>
                    <a:pt x="2449" y="2912"/>
                  </a:lnTo>
                  <a:lnTo>
                    <a:pt x="2471" y="2908"/>
                  </a:lnTo>
                  <a:lnTo>
                    <a:pt x="2471" y="2908"/>
                  </a:lnTo>
                  <a:lnTo>
                    <a:pt x="2473" y="2906"/>
                  </a:lnTo>
                  <a:lnTo>
                    <a:pt x="2489" y="2893"/>
                  </a:lnTo>
                  <a:lnTo>
                    <a:pt x="2537" y="2884"/>
                  </a:lnTo>
                  <a:lnTo>
                    <a:pt x="2539" y="2884"/>
                  </a:lnTo>
                  <a:lnTo>
                    <a:pt x="2541" y="2884"/>
                  </a:lnTo>
                  <a:lnTo>
                    <a:pt x="2589" y="2884"/>
                  </a:lnTo>
                  <a:lnTo>
                    <a:pt x="2572" y="2904"/>
                  </a:lnTo>
                  <a:lnTo>
                    <a:pt x="2569" y="2906"/>
                  </a:lnTo>
                  <a:lnTo>
                    <a:pt x="2572" y="2908"/>
                  </a:lnTo>
                  <a:lnTo>
                    <a:pt x="2622" y="2988"/>
                  </a:lnTo>
                  <a:lnTo>
                    <a:pt x="2622" y="2990"/>
                  </a:lnTo>
                  <a:lnTo>
                    <a:pt x="2622" y="2993"/>
                  </a:lnTo>
                  <a:lnTo>
                    <a:pt x="2678" y="3255"/>
                  </a:lnTo>
                  <a:lnTo>
                    <a:pt x="2678" y="3257"/>
                  </a:lnTo>
                  <a:lnTo>
                    <a:pt x="2683" y="3257"/>
                  </a:lnTo>
                  <a:lnTo>
                    <a:pt x="2711" y="3253"/>
                  </a:lnTo>
                  <a:lnTo>
                    <a:pt x="2713" y="3253"/>
                  </a:lnTo>
                  <a:lnTo>
                    <a:pt x="2715" y="3251"/>
                  </a:lnTo>
                  <a:lnTo>
                    <a:pt x="2733" y="3225"/>
                  </a:lnTo>
                  <a:lnTo>
                    <a:pt x="2748" y="3231"/>
                  </a:lnTo>
                  <a:lnTo>
                    <a:pt x="2752" y="3259"/>
                  </a:lnTo>
                  <a:lnTo>
                    <a:pt x="2752" y="3261"/>
                  </a:lnTo>
                  <a:lnTo>
                    <a:pt x="2755" y="3261"/>
                  </a:lnTo>
                  <a:lnTo>
                    <a:pt x="2818" y="3296"/>
                  </a:lnTo>
                  <a:lnTo>
                    <a:pt x="2818" y="3296"/>
                  </a:lnTo>
                  <a:lnTo>
                    <a:pt x="2820" y="3296"/>
                  </a:lnTo>
                  <a:lnTo>
                    <a:pt x="2868" y="3279"/>
                  </a:lnTo>
                  <a:lnTo>
                    <a:pt x="2892" y="3287"/>
                  </a:lnTo>
                  <a:lnTo>
                    <a:pt x="2909" y="3324"/>
                  </a:lnTo>
                  <a:lnTo>
                    <a:pt x="2909" y="3326"/>
                  </a:lnTo>
                  <a:lnTo>
                    <a:pt x="2909" y="3329"/>
                  </a:lnTo>
                  <a:lnTo>
                    <a:pt x="2914" y="3368"/>
                  </a:lnTo>
                  <a:lnTo>
                    <a:pt x="2914" y="3370"/>
                  </a:lnTo>
                  <a:lnTo>
                    <a:pt x="2916" y="3370"/>
                  </a:lnTo>
                  <a:lnTo>
                    <a:pt x="2951" y="3389"/>
                  </a:lnTo>
                  <a:lnTo>
                    <a:pt x="2951" y="3426"/>
                  </a:lnTo>
                  <a:lnTo>
                    <a:pt x="2951" y="3428"/>
                  </a:lnTo>
                  <a:lnTo>
                    <a:pt x="2955" y="3430"/>
                  </a:lnTo>
                  <a:lnTo>
                    <a:pt x="2990" y="3437"/>
                  </a:lnTo>
                  <a:lnTo>
                    <a:pt x="3003" y="3454"/>
                  </a:lnTo>
                  <a:lnTo>
                    <a:pt x="3005" y="3456"/>
                  </a:lnTo>
                  <a:lnTo>
                    <a:pt x="3010" y="3454"/>
                  </a:lnTo>
                  <a:lnTo>
                    <a:pt x="3044" y="3437"/>
                  </a:lnTo>
                  <a:lnTo>
                    <a:pt x="3051" y="3459"/>
                  </a:lnTo>
                  <a:lnTo>
                    <a:pt x="3051" y="3461"/>
                  </a:lnTo>
                  <a:lnTo>
                    <a:pt x="3053" y="3461"/>
                  </a:lnTo>
                  <a:lnTo>
                    <a:pt x="3079" y="3500"/>
                  </a:lnTo>
                  <a:lnTo>
                    <a:pt x="3079" y="3500"/>
                  </a:lnTo>
                  <a:lnTo>
                    <a:pt x="3081" y="3500"/>
                  </a:lnTo>
                  <a:lnTo>
                    <a:pt x="3123" y="3506"/>
                  </a:lnTo>
                  <a:lnTo>
                    <a:pt x="3125" y="3506"/>
                  </a:lnTo>
                  <a:lnTo>
                    <a:pt x="3127" y="3502"/>
                  </a:lnTo>
                  <a:lnTo>
                    <a:pt x="3138" y="3478"/>
                  </a:lnTo>
                  <a:lnTo>
                    <a:pt x="3190" y="3476"/>
                  </a:lnTo>
                  <a:lnTo>
                    <a:pt x="3193" y="3476"/>
                  </a:lnTo>
                  <a:lnTo>
                    <a:pt x="3193" y="3476"/>
                  </a:lnTo>
                  <a:lnTo>
                    <a:pt x="3230" y="3448"/>
                  </a:lnTo>
                  <a:lnTo>
                    <a:pt x="3230" y="3448"/>
                  </a:lnTo>
                  <a:lnTo>
                    <a:pt x="3232" y="3448"/>
                  </a:lnTo>
                  <a:lnTo>
                    <a:pt x="3378" y="3391"/>
                  </a:lnTo>
                  <a:lnTo>
                    <a:pt x="3426" y="3389"/>
                  </a:lnTo>
                  <a:lnTo>
                    <a:pt x="3435" y="3400"/>
                  </a:lnTo>
                  <a:lnTo>
                    <a:pt x="3435" y="3402"/>
                  </a:lnTo>
                  <a:lnTo>
                    <a:pt x="3437" y="3402"/>
                  </a:lnTo>
                  <a:lnTo>
                    <a:pt x="3513" y="3420"/>
                  </a:lnTo>
                  <a:lnTo>
                    <a:pt x="3517" y="3450"/>
                  </a:lnTo>
                  <a:lnTo>
                    <a:pt x="3520" y="3452"/>
                  </a:lnTo>
                  <a:lnTo>
                    <a:pt x="3520" y="3454"/>
                  </a:lnTo>
                  <a:lnTo>
                    <a:pt x="3550" y="3469"/>
                  </a:lnTo>
                  <a:lnTo>
                    <a:pt x="3550" y="3469"/>
                  </a:lnTo>
                  <a:lnTo>
                    <a:pt x="3552" y="3469"/>
                  </a:lnTo>
                  <a:lnTo>
                    <a:pt x="3635" y="3478"/>
                  </a:lnTo>
                  <a:lnTo>
                    <a:pt x="3666" y="3482"/>
                  </a:lnTo>
                  <a:lnTo>
                    <a:pt x="3683" y="3498"/>
                  </a:lnTo>
                  <a:lnTo>
                    <a:pt x="3683" y="3500"/>
                  </a:lnTo>
                  <a:lnTo>
                    <a:pt x="3687" y="3498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13" y="3489"/>
                  </a:lnTo>
                  <a:lnTo>
                    <a:pt x="3737" y="3467"/>
                  </a:lnTo>
                  <a:lnTo>
                    <a:pt x="3740" y="3467"/>
                  </a:lnTo>
                  <a:lnTo>
                    <a:pt x="3740" y="3467"/>
                  </a:lnTo>
                  <a:lnTo>
                    <a:pt x="3757" y="3424"/>
                  </a:lnTo>
                  <a:lnTo>
                    <a:pt x="3757" y="3422"/>
                  </a:lnTo>
                  <a:lnTo>
                    <a:pt x="3755" y="3420"/>
                  </a:lnTo>
                  <a:lnTo>
                    <a:pt x="3729" y="3387"/>
                  </a:lnTo>
                  <a:lnTo>
                    <a:pt x="3731" y="3339"/>
                  </a:lnTo>
                  <a:lnTo>
                    <a:pt x="3746" y="3335"/>
                  </a:lnTo>
                  <a:lnTo>
                    <a:pt x="3751" y="3335"/>
                  </a:lnTo>
                  <a:lnTo>
                    <a:pt x="3751" y="3331"/>
                  </a:lnTo>
                  <a:lnTo>
                    <a:pt x="3751" y="3311"/>
                  </a:lnTo>
                  <a:lnTo>
                    <a:pt x="3770" y="3311"/>
                  </a:lnTo>
                  <a:lnTo>
                    <a:pt x="3775" y="3311"/>
                  </a:lnTo>
                  <a:lnTo>
                    <a:pt x="3781" y="3283"/>
                  </a:lnTo>
                  <a:lnTo>
                    <a:pt x="3875" y="3322"/>
                  </a:lnTo>
                  <a:lnTo>
                    <a:pt x="3877" y="3322"/>
                  </a:lnTo>
                  <a:lnTo>
                    <a:pt x="3877" y="3322"/>
                  </a:lnTo>
                  <a:lnTo>
                    <a:pt x="3962" y="3342"/>
                  </a:lnTo>
                  <a:lnTo>
                    <a:pt x="3979" y="3409"/>
                  </a:lnTo>
                  <a:lnTo>
                    <a:pt x="3982" y="3411"/>
                  </a:lnTo>
                  <a:lnTo>
                    <a:pt x="3982" y="3413"/>
                  </a:lnTo>
                  <a:lnTo>
                    <a:pt x="4047" y="3446"/>
                  </a:lnTo>
                  <a:lnTo>
                    <a:pt x="4049" y="3446"/>
                  </a:lnTo>
                  <a:lnTo>
                    <a:pt x="4049" y="3446"/>
                  </a:lnTo>
                  <a:lnTo>
                    <a:pt x="4095" y="3446"/>
                  </a:lnTo>
                  <a:lnTo>
                    <a:pt x="4095" y="3446"/>
                  </a:lnTo>
                  <a:lnTo>
                    <a:pt x="4097" y="3446"/>
                  </a:lnTo>
                  <a:lnTo>
                    <a:pt x="4160" y="3407"/>
                  </a:lnTo>
                  <a:lnTo>
                    <a:pt x="4208" y="3422"/>
                  </a:lnTo>
                  <a:lnTo>
                    <a:pt x="4208" y="3422"/>
                  </a:lnTo>
                  <a:lnTo>
                    <a:pt x="4210" y="3422"/>
                  </a:lnTo>
                  <a:lnTo>
                    <a:pt x="4261" y="3420"/>
                  </a:lnTo>
                  <a:lnTo>
                    <a:pt x="4271" y="3441"/>
                  </a:lnTo>
                  <a:lnTo>
                    <a:pt x="4274" y="3443"/>
                  </a:lnTo>
                  <a:lnTo>
                    <a:pt x="4276" y="3443"/>
                  </a:lnTo>
                  <a:lnTo>
                    <a:pt x="4306" y="3443"/>
                  </a:lnTo>
                  <a:lnTo>
                    <a:pt x="4308" y="3446"/>
                  </a:lnTo>
                  <a:lnTo>
                    <a:pt x="4311" y="3446"/>
                  </a:lnTo>
                  <a:lnTo>
                    <a:pt x="4326" y="3446"/>
                  </a:lnTo>
                  <a:lnTo>
                    <a:pt x="4346" y="3480"/>
                  </a:lnTo>
                  <a:lnTo>
                    <a:pt x="4346" y="3480"/>
                  </a:lnTo>
                  <a:lnTo>
                    <a:pt x="4348" y="3482"/>
                  </a:lnTo>
                  <a:lnTo>
                    <a:pt x="4498" y="3495"/>
                  </a:lnTo>
                  <a:lnTo>
                    <a:pt x="4498" y="3495"/>
                  </a:lnTo>
                  <a:lnTo>
                    <a:pt x="4500" y="3495"/>
                  </a:lnTo>
                  <a:lnTo>
                    <a:pt x="4598" y="3435"/>
                  </a:lnTo>
                  <a:lnTo>
                    <a:pt x="4629" y="3435"/>
                  </a:lnTo>
                  <a:lnTo>
                    <a:pt x="4633" y="3435"/>
                  </a:lnTo>
                  <a:lnTo>
                    <a:pt x="4633" y="3430"/>
                  </a:lnTo>
                  <a:lnTo>
                    <a:pt x="4644" y="3400"/>
                  </a:lnTo>
                  <a:lnTo>
                    <a:pt x="4690" y="3357"/>
                  </a:lnTo>
                  <a:lnTo>
                    <a:pt x="4755" y="3352"/>
                  </a:lnTo>
                  <a:lnTo>
                    <a:pt x="4775" y="3370"/>
                  </a:lnTo>
                  <a:lnTo>
                    <a:pt x="4777" y="3374"/>
                  </a:lnTo>
                  <a:lnTo>
                    <a:pt x="4781" y="3370"/>
                  </a:lnTo>
                  <a:lnTo>
                    <a:pt x="4808" y="3346"/>
                  </a:lnTo>
                  <a:lnTo>
                    <a:pt x="4925" y="3365"/>
                  </a:lnTo>
                  <a:lnTo>
                    <a:pt x="4930" y="3365"/>
                  </a:lnTo>
                  <a:lnTo>
                    <a:pt x="4930" y="3363"/>
                  </a:lnTo>
                  <a:lnTo>
                    <a:pt x="4947" y="3318"/>
                  </a:lnTo>
                  <a:lnTo>
                    <a:pt x="4986" y="3290"/>
                  </a:lnTo>
                  <a:lnTo>
                    <a:pt x="4991" y="3287"/>
                  </a:lnTo>
                  <a:lnTo>
                    <a:pt x="4988" y="3285"/>
                  </a:lnTo>
                  <a:lnTo>
                    <a:pt x="4971" y="3244"/>
                  </a:lnTo>
                  <a:lnTo>
                    <a:pt x="4991" y="3133"/>
                  </a:lnTo>
                  <a:lnTo>
                    <a:pt x="5019" y="3103"/>
                  </a:lnTo>
                  <a:lnTo>
                    <a:pt x="5021" y="3101"/>
                  </a:lnTo>
                  <a:lnTo>
                    <a:pt x="5021" y="3099"/>
                  </a:lnTo>
                  <a:lnTo>
                    <a:pt x="4999" y="3045"/>
                  </a:lnTo>
                  <a:lnTo>
                    <a:pt x="4999" y="3042"/>
                  </a:lnTo>
                  <a:lnTo>
                    <a:pt x="4997" y="3042"/>
                  </a:lnTo>
                  <a:lnTo>
                    <a:pt x="4960" y="3038"/>
                  </a:lnTo>
                  <a:lnTo>
                    <a:pt x="4986" y="2988"/>
                  </a:lnTo>
                  <a:lnTo>
                    <a:pt x="5041" y="2951"/>
                  </a:lnTo>
                  <a:lnTo>
                    <a:pt x="5041" y="2949"/>
                  </a:lnTo>
                  <a:lnTo>
                    <a:pt x="5043" y="2949"/>
                  </a:lnTo>
                  <a:lnTo>
                    <a:pt x="5119" y="2910"/>
                  </a:lnTo>
                  <a:lnTo>
                    <a:pt x="5176" y="2930"/>
                  </a:lnTo>
                  <a:lnTo>
                    <a:pt x="5178" y="2930"/>
                  </a:lnTo>
                  <a:lnTo>
                    <a:pt x="5178" y="2930"/>
                  </a:lnTo>
                  <a:lnTo>
                    <a:pt x="5248" y="2919"/>
                  </a:lnTo>
                  <a:lnTo>
                    <a:pt x="5352" y="3021"/>
                  </a:lnTo>
                  <a:lnTo>
                    <a:pt x="5481" y="3155"/>
                  </a:lnTo>
                  <a:lnTo>
                    <a:pt x="5483" y="3157"/>
                  </a:lnTo>
                  <a:lnTo>
                    <a:pt x="5485" y="3155"/>
                  </a:lnTo>
                  <a:lnTo>
                    <a:pt x="5535" y="3136"/>
                  </a:lnTo>
                  <a:lnTo>
                    <a:pt x="5566" y="3149"/>
                  </a:lnTo>
                  <a:lnTo>
                    <a:pt x="5568" y="3151"/>
                  </a:lnTo>
                  <a:lnTo>
                    <a:pt x="5568" y="3149"/>
                  </a:lnTo>
                  <a:lnTo>
                    <a:pt x="5590" y="3140"/>
                  </a:lnTo>
                  <a:lnTo>
                    <a:pt x="5631" y="3153"/>
                  </a:lnTo>
                  <a:lnTo>
                    <a:pt x="5634" y="3153"/>
                  </a:lnTo>
                  <a:lnTo>
                    <a:pt x="5634" y="3153"/>
                  </a:lnTo>
                  <a:lnTo>
                    <a:pt x="5657" y="3149"/>
                  </a:lnTo>
                  <a:lnTo>
                    <a:pt x="5657" y="3149"/>
                  </a:lnTo>
                  <a:lnTo>
                    <a:pt x="5690" y="3203"/>
                  </a:lnTo>
                  <a:lnTo>
                    <a:pt x="5692" y="3203"/>
                  </a:lnTo>
                  <a:lnTo>
                    <a:pt x="5692" y="3203"/>
                  </a:lnTo>
                  <a:lnTo>
                    <a:pt x="5727" y="3235"/>
                  </a:lnTo>
                  <a:lnTo>
                    <a:pt x="5729" y="3238"/>
                  </a:lnTo>
                  <a:lnTo>
                    <a:pt x="5734" y="3235"/>
                  </a:lnTo>
                  <a:lnTo>
                    <a:pt x="5810" y="3199"/>
                  </a:lnTo>
                  <a:lnTo>
                    <a:pt x="5812" y="3199"/>
                  </a:lnTo>
                  <a:lnTo>
                    <a:pt x="5812" y="3196"/>
                  </a:lnTo>
                  <a:lnTo>
                    <a:pt x="5823" y="3164"/>
                  </a:lnTo>
                  <a:lnTo>
                    <a:pt x="5880" y="3101"/>
                  </a:lnTo>
                  <a:lnTo>
                    <a:pt x="5908" y="3088"/>
                  </a:lnTo>
                  <a:lnTo>
                    <a:pt x="5939" y="3136"/>
                  </a:lnTo>
                  <a:lnTo>
                    <a:pt x="5928" y="3170"/>
                  </a:lnTo>
                  <a:lnTo>
                    <a:pt x="5928" y="3170"/>
                  </a:lnTo>
                  <a:lnTo>
                    <a:pt x="5928" y="3172"/>
                  </a:lnTo>
                  <a:lnTo>
                    <a:pt x="5945" y="3225"/>
                  </a:lnTo>
                  <a:lnTo>
                    <a:pt x="5947" y="3227"/>
                  </a:lnTo>
                  <a:lnTo>
                    <a:pt x="5945" y="3227"/>
                  </a:lnTo>
                  <a:lnTo>
                    <a:pt x="5941" y="3359"/>
                  </a:lnTo>
                  <a:lnTo>
                    <a:pt x="5941" y="3361"/>
                  </a:lnTo>
                  <a:lnTo>
                    <a:pt x="5943" y="3361"/>
                  </a:lnTo>
                  <a:lnTo>
                    <a:pt x="5963" y="3396"/>
                  </a:lnTo>
                  <a:lnTo>
                    <a:pt x="5875" y="3404"/>
                  </a:lnTo>
                  <a:lnTo>
                    <a:pt x="5873" y="3404"/>
                  </a:lnTo>
                  <a:lnTo>
                    <a:pt x="5873" y="3407"/>
                  </a:lnTo>
                  <a:lnTo>
                    <a:pt x="5843" y="3474"/>
                  </a:lnTo>
                  <a:lnTo>
                    <a:pt x="5841" y="3476"/>
                  </a:lnTo>
                  <a:lnTo>
                    <a:pt x="5843" y="3478"/>
                  </a:lnTo>
                  <a:lnTo>
                    <a:pt x="5928" y="3565"/>
                  </a:lnTo>
                  <a:lnTo>
                    <a:pt x="5930" y="3597"/>
                  </a:lnTo>
                  <a:lnTo>
                    <a:pt x="5932" y="3606"/>
                  </a:lnTo>
                  <a:lnTo>
                    <a:pt x="5939" y="3599"/>
                  </a:lnTo>
                  <a:lnTo>
                    <a:pt x="5984" y="3556"/>
                  </a:lnTo>
                  <a:lnTo>
                    <a:pt x="6065" y="3556"/>
                  </a:lnTo>
                  <a:lnTo>
                    <a:pt x="6065" y="3556"/>
                  </a:lnTo>
                  <a:lnTo>
                    <a:pt x="6067" y="3556"/>
                  </a:lnTo>
                  <a:lnTo>
                    <a:pt x="6126" y="3508"/>
                  </a:lnTo>
                  <a:lnTo>
                    <a:pt x="6126" y="3506"/>
                  </a:lnTo>
                  <a:lnTo>
                    <a:pt x="6128" y="3506"/>
                  </a:lnTo>
                  <a:lnTo>
                    <a:pt x="6163" y="3437"/>
                  </a:lnTo>
                  <a:lnTo>
                    <a:pt x="6163" y="3435"/>
                  </a:lnTo>
                  <a:lnTo>
                    <a:pt x="6163" y="3435"/>
                  </a:lnTo>
                  <a:lnTo>
                    <a:pt x="6181" y="3242"/>
                  </a:lnTo>
                  <a:lnTo>
                    <a:pt x="6204" y="3142"/>
                  </a:lnTo>
                  <a:lnTo>
                    <a:pt x="6204" y="3142"/>
                  </a:lnTo>
                  <a:lnTo>
                    <a:pt x="6204" y="3140"/>
                  </a:lnTo>
                  <a:lnTo>
                    <a:pt x="6187" y="3023"/>
                  </a:lnTo>
                  <a:lnTo>
                    <a:pt x="6187" y="3021"/>
                  </a:lnTo>
                  <a:lnTo>
                    <a:pt x="6187" y="3019"/>
                  </a:lnTo>
                  <a:lnTo>
                    <a:pt x="6198" y="2886"/>
                  </a:lnTo>
                  <a:lnTo>
                    <a:pt x="6198" y="2884"/>
                  </a:lnTo>
                  <a:lnTo>
                    <a:pt x="6198" y="2884"/>
                  </a:lnTo>
                  <a:lnTo>
                    <a:pt x="6183" y="2843"/>
                  </a:lnTo>
                  <a:lnTo>
                    <a:pt x="6183" y="2843"/>
                  </a:lnTo>
                  <a:lnTo>
                    <a:pt x="6183" y="2841"/>
                  </a:lnTo>
                  <a:lnTo>
                    <a:pt x="6117" y="2709"/>
                  </a:lnTo>
                  <a:lnTo>
                    <a:pt x="6117" y="2709"/>
                  </a:lnTo>
                  <a:lnTo>
                    <a:pt x="6117" y="2707"/>
                  </a:lnTo>
                  <a:lnTo>
                    <a:pt x="6096" y="2683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76" y="2590"/>
                  </a:lnTo>
                  <a:lnTo>
                    <a:pt x="6067" y="2564"/>
                  </a:lnTo>
                  <a:lnTo>
                    <a:pt x="6122" y="2594"/>
                  </a:lnTo>
                  <a:lnTo>
                    <a:pt x="6141" y="2650"/>
                  </a:lnTo>
                  <a:lnTo>
                    <a:pt x="6143" y="2650"/>
                  </a:lnTo>
                  <a:lnTo>
                    <a:pt x="6143" y="2650"/>
                  </a:lnTo>
                  <a:lnTo>
                    <a:pt x="6176" y="2691"/>
                  </a:lnTo>
                  <a:lnTo>
                    <a:pt x="6215" y="2756"/>
                  </a:lnTo>
                  <a:lnTo>
                    <a:pt x="6244" y="2802"/>
                  </a:lnTo>
                  <a:lnTo>
                    <a:pt x="6244" y="2802"/>
                  </a:lnTo>
                  <a:lnTo>
                    <a:pt x="6246" y="2802"/>
                  </a:lnTo>
                  <a:lnTo>
                    <a:pt x="6276" y="2828"/>
                  </a:lnTo>
                  <a:lnTo>
                    <a:pt x="6287" y="2856"/>
                  </a:lnTo>
                  <a:lnTo>
                    <a:pt x="6287" y="2856"/>
                  </a:lnTo>
                  <a:lnTo>
                    <a:pt x="6296" y="2882"/>
                  </a:lnTo>
                  <a:lnTo>
                    <a:pt x="6296" y="2882"/>
                  </a:lnTo>
                  <a:lnTo>
                    <a:pt x="6298" y="2884"/>
                  </a:lnTo>
                  <a:lnTo>
                    <a:pt x="6337" y="2902"/>
                  </a:lnTo>
                  <a:lnTo>
                    <a:pt x="6342" y="2941"/>
                  </a:lnTo>
                  <a:lnTo>
                    <a:pt x="6342" y="2941"/>
                  </a:lnTo>
                  <a:lnTo>
                    <a:pt x="6344" y="2943"/>
                  </a:lnTo>
                  <a:lnTo>
                    <a:pt x="6385" y="2995"/>
                  </a:lnTo>
                  <a:lnTo>
                    <a:pt x="6392" y="3003"/>
                  </a:lnTo>
                  <a:lnTo>
                    <a:pt x="6392" y="2993"/>
                  </a:lnTo>
                  <a:lnTo>
                    <a:pt x="6396" y="2947"/>
                  </a:lnTo>
                  <a:lnTo>
                    <a:pt x="6396" y="2947"/>
                  </a:lnTo>
                  <a:lnTo>
                    <a:pt x="6396" y="2945"/>
                  </a:lnTo>
                  <a:lnTo>
                    <a:pt x="6392" y="2915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20" y="2912"/>
                  </a:lnTo>
                  <a:lnTo>
                    <a:pt x="6431" y="2908"/>
                  </a:lnTo>
                  <a:lnTo>
                    <a:pt x="6462" y="2923"/>
                  </a:lnTo>
                  <a:lnTo>
                    <a:pt x="6473" y="2930"/>
                  </a:lnTo>
                  <a:lnTo>
                    <a:pt x="6466" y="2917"/>
                  </a:lnTo>
                  <a:lnTo>
                    <a:pt x="6442" y="2865"/>
                  </a:lnTo>
                  <a:lnTo>
                    <a:pt x="6440" y="2863"/>
                  </a:lnTo>
                  <a:lnTo>
                    <a:pt x="6403" y="2863"/>
                  </a:lnTo>
                  <a:lnTo>
                    <a:pt x="6364" y="2847"/>
                  </a:lnTo>
                  <a:lnTo>
                    <a:pt x="6322" y="2817"/>
                  </a:lnTo>
                  <a:lnTo>
                    <a:pt x="6294" y="2746"/>
                  </a:lnTo>
                  <a:lnTo>
                    <a:pt x="6279" y="2702"/>
                  </a:lnTo>
                  <a:lnTo>
                    <a:pt x="6309" y="2685"/>
                  </a:lnTo>
                  <a:lnTo>
                    <a:pt x="6372" y="2681"/>
                  </a:lnTo>
                  <a:lnTo>
                    <a:pt x="6385" y="2681"/>
                  </a:lnTo>
                  <a:lnTo>
                    <a:pt x="6374" y="2674"/>
                  </a:lnTo>
                  <a:lnTo>
                    <a:pt x="6231" y="2579"/>
                  </a:lnTo>
                  <a:lnTo>
                    <a:pt x="6130" y="2488"/>
                  </a:lnTo>
                  <a:lnTo>
                    <a:pt x="6085" y="2401"/>
                  </a:lnTo>
                  <a:lnTo>
                    <a:pt x="6085" y="2401"/>
                  </a:lnTo>
                  <a:lnTo>
                    <a:pt x="6082" y="2401"/>
                  </a:lnTo>
                  <a:lnTo>
                    <a:pt x="6019" y="2356"/>
                  </a:lnTo>
                  <a:lnTo>
                    <a:pt x="5991" y="2319"/>
                  </a:lnTo>
                  <a:lnTo>
                    <a:pt x="5989" y="2317"/>
                  </a:lnTo>
                  <a:lnTo>
                    <a:pt x="5984" y="2319"/>
                  </a:lnTo>
                  <a:lnTo>
                    <a:pt x="5965" y="2327"/>
                  </a:lnTo>
                  <a:lnTo>
                    <a:pt x="5963" y="2327"/>
                  </a:lnTo>
                  <a:lnTo>
                    <a:pt x="5963" y="2330"/>
                  </a:lnTo>
                  <a:lnTo>
                    <a:pt x="5958" y="2351"/>
                  </a:lnTo>
                  <a:lnTo>
                    <a:pt x="5958" y="2356"/>
                  </a:lnTo>
                  <a:lnTo>
                    <a:pt x="5960" y="2356"/>
                  </a:lnTo>
                  <a:lnTo>
                    <a:pt x="5997" y="2382"/>
                  </a:lnTo>
                  <a:lnTo>
                    <a:pt x="6015" y="2410"/>
                  </a:lnTo>
                  <a:lnTo>
                    <a:pt x="6006" y="2418"/>
                  </a:lnTo>
                  <a:lnTo>
                    <a:pt x="5991" y="2416"/>
                  </a:lnTo>
                  <a:lnTo>
                    <a:pt x="5987" y="2414"/>
                  </a:lnTo>
                  <a:lnTo>
                    <a:pt x="5987" y="2418"/>
                  </a:lnTo>
                  <a:lnTo>
                    <a:pt x="5980" y="2444"/>
                  </a:lnTo>
                  <a:lnTo>
                    <a:pt x="5980" y="2447"/>
                  </a:lnTo>
                  <a:lnTo>
                    <a:pt x="5982" y="2449"/>
                  </a:lnTo>
                  <a:lnTo>
                    <a:pt x="6017" y="2475"/>
                  </a:lnTo>
                  <a:lnTo>
                    <a:pt x="6050" y="2548"/>
                  </a:lnTo>
                  <a:lnTo>
                    <a:pt x="6008" y="2531"/>
                  </a:lnTo>
                  <a:lnTo>
                    <a:pt x="5993" y="2514"/>
                  </a:lnTo>
                  <a:lnTo>
                    <a:pt x="6006" y="2486"/>
                  </a:lnTo>
                  <a:lnTo>
                    <a:pt x="6008" y="2481"/>
                  </a:lnTo>
                  <a:lnTo>
                    <a:pt x="6004" y="2479"/>
                  </a:lnTo>
                  <a:lnTo>
                    <a:pt x="5969" y="2466"/>
                  </a:lnTo>
                  <a:lnTo>
                    <a:pt x="5967" y="2466"/>
                  </a:lnTo>
                  <a:lnTo>
                    <a:pt x="5967" y="2466"/>
                  </a:lnTo>
                  <a:lnTo>
                    <a:pt x="5891" y="2451"/>
                  </a:lnTo>
                  <a:lnTo>
                    <a:pt x="5891" y="2451"/>
                  </a:lnTo>
                  <a:lnTo>
                    <a:pt x="5888" y="2451"/>
                  </a:lnTo>
                  <a:lnTo>
                    <a:pt x="5830" y="2483"/>
                  </a:lnTo>
                  <a:lnTo>
                    <a:pt x="5827" y="2483"/>
                  </a:lnTo>
                  <a:lnTo>
                    <a:pt x="5827" y="2486"/>
                  </a:lnTo>
                  <a:lnTo>
                    <a:pt x="5808" y="2566"/>
                  </a:lnTo>
                  <a:lnTo>
                    <a:pt x="5788" y="2542"/>
                  </a:lnTo>
                  <a:lnTo>
                    <a:pt x="5786" y="2538"/>
                  </a:lnTo>
                  <a:lnTo>
                    <a:pt x="5782" y="2542"/>
                  </a:lnTo>
                  <a:lnTo>
                    <a:pt x="5758" y="2572"/>
                  </a:lnTo>
                  <a:lnTo>
                    <a:pt x="5738" y="2509"/>
                  </a:lnTo>
                  <a:lnTo>
                    <a:pt x="5736" y="2505"/>
                  </a:lnTo>
                  <a:lnTo>
                    <a:pt x="5732" y="2507"/>
                  </a:lnTo>
                  <a:lnTo>
                    <a:pt x="5681" y="2538"/>
                  </a:lnTo>
                  <a:lnTo>
                    <a:pt x="5647" y="2531"/>
                  </a:lnTo>
                  <a:lnTo>
                    <a:pt x="5647" y="2496"/>
                  </a:lnTo>
                  <a:lnTo>
                    <a:pt x="5701" y="2362"/>
                  </a:lnTo>
                  <a:lnTo>
                    <a:pt x="5701" y="2360"/>
                  </a:lnTo>
                  <a:lnTo>
                    <a:pt x="5703" y="2360"/>
                  </a:lnTo>
                  <a:lnTo>
                    <a:pt x="5716" y="2223"/>
                  </a:lnTo>
                  <a:lnTo>
                    <a:pt x="5732" y="2158"/>
                  </a:lnTo>
                  <a:lnTo>
                    <a:pt x="5732" y="2158"/>
                  </a:lnTo>
                  <a:lnTo>
                    <a:pt x="5732" y="2156"/>
                  </a:lnTo>
                  <a:lnTo>
                    <a:pt x="5718" y="2104"/>
                  </a:lnTo>
                  <a:lnTo>
                    <a:pt x="5736" y="2057"/>
                  </a:lnTo>
                  <a:lnTo>
                    <a:pt x="5736" y="2057"/>
                  </a:lnTo>
                  <a:lnTo>
                    <a:pt x="5736" y="2054"/>
                  </a:lnTo>
                  <a:lnTo>
                    <a:pt x="5729" y="2005"/>
                  </a:lnTo>
                  <a:lnTo>
                    <a:pt x="5841" y="1896"/>
                  </a:lnTo>
                  <a:lnTo>
                    <a:pt x="5875" y="1903"/>
                  </a:lnTo>
                  <a:lnTo>
                    <a:pt x="5878" y="1903"/>
                  </a:lnTo>
                  <a:lnTo>
                    <a:pt x="5880" y="1898"/>
                  </a:lnTo>
                  <a:lnTo>
                    <a:pt x="5884" y="1885"/>
                  </a:lnTo>
                  <a:lnTo>
                    <a:pt x="5884" y="1883"/>
                  </a:lnTo>
                  <a:lnTo>
                    <a:pt x="5882" y="1881"/>
                  </a:lnTo>
                  <a:lnTo>
                    <a:pt x="5875" y="1870"/>
                  </a:lnTo>
                  <a:lnTo>
                    <a:pt x="5886" y="1862"/>
                  </a:lnTo>
                  <a:lnTo>
                    <a:pt x="5888" y="1862"/>
                  </a:lnTo>
                  <a:lnTo>
                    <a:pt x="5891" y="1859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21" y="1840"/>
                  </a:lnTo>
                  <a:lnTo>
                    <a:pt x="5941" y="1822"/>
                  </a:lnTo>
                  <a:lnTo>
                    <a:pt x="5969" y="1816"/>
                  </a:lnTo>
                  <a:lnTo>
                    <a:pt x="5973" y="1816"/>
                  </a:lnTo>
                  <a:lnTo>
                    <a:pt x="5971" y="1812"/>
                  </a:lnTo>
                  <a:lnTo>
                    <a:pt x="5963" y="1757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11" y="1742"/>
                  </a:lnTo>
                  <a:lnTo>
                    <a:pt x="6050" y="1708"/>
                  </a:lnTo>
                  <a:lnTo>
                    <a:pt x="6074" y="1708"/>
                  </a:lnTo>
                  <a:lnTo>
                    <a:pt x="6052" y="1738"/>
                  </a:lnTo>
                  <a:lnTo>
                    <a:pt x="6050" y="1742"/>
                  </a:lnTo>
                  <a:lnTo>
                    <a:pt x="6054" y="1744"/>
                  </a:lnTo>
                  <a:lnTo>
                    <a:pt x="6078" y="1766"/>
                  </a:lnTo>
                  <a:lnTo>
                    <a:pt x="6082" y="1768"/>
                  </a:lnTo>
                  <a:lnTo>
                    <a:pt x="6085" y="1764"/>
                  </a:lnTo>
                  <a:lnTo>
                    <a:pt x="6122" y="1725"/>
                  </a:lnTo>
                  <a:lnTo>
                    <a:pt x="6122" y="1723"/>
                  </a:lnTo>
                  <a:lnTo>
                    <a:pt x="6122" y="1723"/>
                  </a:lnTo>
                  <a:lnTo>
                    <a:pt x="6130" y="1660"/>
                  </a:lnTo>
                  <a:lnTo>
                    <a:pt x="6161" y="1649"/>
                  </a:lnTo>
                  <a:lnTo>
                    <a:pt x="6163" y="1647"/>
                  </a:lnTo>
                  <a:lnTo>
                    <a:pt x="6163" y="1647"/>
                  </a:lnTo>
                  <a:lnTo>
                    <a:pt x="6189" y="1612"/>
                  </a:lnTo>
                  <a:lnTo>
                    <a:pt x="6191" y="1610"/>
                  </a:lnTo>
                  <a:lnTo>
                    <a:pt x="6189" y="1608"/>
                  </a:lnTo>
                  <a:lnTo>
                    <a:pt x="6161" y="1586"/>
                  </a:lnTo>
                  <a:lnTo>
                    <a:pt x="6159" y="1584"/>
                  </a:lnTo>
                  <a:lnTo>
                    <a:pt x="6157" y="1588"/>
                  </a:lnTo>
                  <a:lnTo>
                    <a:pt x="6135" y="1612"/>
                  </a:lnTo>
                  <a:lnTo>
                    <a:pt x="6115" y="1593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106" y="1478"/>
                  </a:lnTo>
                  <a:lnTo>
                    <a:pt x="6087" y="1411"/>
                  </a:lnTo>
                  <a:lnTo>
                    <a:pt x="6093" y="1361"/>
                  </a:lnTo>
                  <a:lnTo>
                    <a:pt x="6133" y="1302"/>
                  </a:lnTo>
                  <a:lnTo>
                    <a:pt x="6154" y="1302"/>
                  </a:lnTo>
                  <a:lnTo>
                    <a:pt x="6157" y="1302"/>
                  </a:lnTo>
                  <a:lnTo>
                    <a:pt x="6159" y="1300"/>
                  </a:lnTo>
                  <a:lnTo>
                    <a:pt x="6167" y="1274"/>
                  </a:lnTo>
                  <a:lnTo>
                    <a:pt x="6211" y="1333"/>
                  </a:lnTo>
                  <a:lnTo>
                    <a:pt x="6213" y="1335"/>
                  </a:lnTo>
                  <a:lnTo>
                    <a:pt x="6215" y="1335"/>
                  </a:lnTo>
                  <a:lnTo>
                    <a:pt x="6250" y="1328"/>
                  </a:lnTo>
                  <a:lnTo>
                    <a:pt x="6252" y="1328"/>
                  </a:lnTo>
                  <a:lnTo>
                    <a:pt x="6252" y="1326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55" y="1300"/>
                  </a:lnTo>
                  <a:lnTo>
                    <a:pt x="6248" y="1248"/>
                  </a:lnTo>
                  <a:lnTo>
                    <a:pt x="6248" y="1248"/>
                  </a:lnTo>
                  <a:lnTo>
                    <a:pt x="6239" y="1214"/>
                  </a:lnTo>
                  <a:lnTo>
                    <a:pt x="6239" y="1211"/>
                  </a:lnTo>
                  <a:lnTo>
                    <a:pt x="6259" y="1192"/>
                  </a:lnTo>
                  <a:lnTo>
                    <a:pt x="6263" y="1190"/>
                  </a:lnTo>
                  <a:lnTo>
                    <a:pt x="6259" y="1188"/>
                  </a:lnTo>
                  <a:lnTo>
                    <a:pt x="6202" y="1120"/>
                  </a:lnTo>
                  <a:lnTo>
                    <a:pt x="6215" y="1079"/>
                  </a:lnTo>
                  <a:lnTo>
                    <a:pt x="6257" y="1064"/>
                  </a:lnTo>
                  <a:lnTo>
                    <a:pt x="6235" y="1099"/>
                  </a:lnTo>
                  <a:lnTo>
                    <a:pt x="6235" y="1099"/>
                  </a:lnTo>
                  <a:lnTo>
                    <a:pt x="6235" y="1101"/>
                  </a:lnTo>
                  <a:lnTo>
                    <a:pt x="6242" y="1136"/>
                  </a:lnTo>
                  <a:lnTo>
                    <a:pt x="6242" y="1136"/>
                  </a:lnTo>
                  <a:lnTo>
                    <a:pt x="6244" y="1138"/>
                  </a:lnTo>
                  <a:lnTo>
                    <a:pt x="6287" y="1168"/>
                  </a:lnTo>
                  <a:lnTo>
                    <a:pt x="6287" y="1168"/>
                  </a:lnTo>
                  <a:lnTo>
                    <a:pt x="6289" y="1168"/>
                  </a:lnTo>
                  <a:lnTo>
                    <a:pt x="6305" y="1170"/>
                  </a:lnTo>
                  <a:lnTo>
                    <a:pt x="6305" y="1198"/>
                  </a:lnTo>
                  <a:lnTo>
                    <a:pt x="6305" y="1201"/>
                  </a:lnTo>
                  <a:lnTo>
                    <a:pt x="6309" y="1201"/>
                  </a:lnTo>
                  <a:lnTo>
                    <a:pt x="6324" y="1205"/>
                  </a:lnTo>
                  <a:lnTo>
                    <a:pt x="6307" y="1292"/>
                  </a:lnTo>
                  <a:lnTo>
                    <a:pt x="6305" y="1294"/>
                  </a:lnTo>
                  <a:lnTo>
                    <a:pt x="6307" y="1294"/>
                  </a:lnTo>
                  <a:lnTo>
                    <a:pt x="6327" y="1328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33" y="1432"/>
                  </a:lnTo>
                  <a:lnTo>
                    <a:pt x="6348" y="1500"/>
                  </a:lnTo>
                  <a:lnTo>
                    <a:pt x="6348" y="1502"/>
                  </a:lnTo>
                  <a:lnTo>
                    <a:pt x="6370" y="1567"/>
                  </a:lnTo>
                  <a:lnTo>
                    <a:pt x="6346" y="1593"/>
                  </a:lnTo>
                  <a:lnTo>
                    <a:pt x="6346" y="1593"/>
                  </a:lnTo>
                  <a:lnTo>
                    <a:pt x="6346" y="1595"/>
                  </a:lnTo>
                  <a:lnTo>
                    <a:pt x="6353" y="1619"/>
                  </a:lnTo>
                  <a:lnTo>
                    <a:pt x="6342" y="1636"/>
                  </a:lnTo>
                  <a:lnTo>
                    <a:pt x="6340" y="1638"/>
                  </a:lnTo>
                  <a:lnTo>
                    <a:pt x="6342" y="1640"/>
                  </a:lnTo>
                  <a:lnTo>
                    <a:pt x="6374" y="1682"/>
                  </a:lnTo>
                  <a:lnTo>
                    <a:pt x="6381" y="1744"/>
                  </a:lnTo>
                  <a:lnTo>
                    <a:pt x="6381" y="1747"/>
                  </a:lnTo>
                  <a:lnTo>
                    <a:pt x="6383" y="1747"/>
                  </a:lnTo>
                  <a:lnTo>
                    <a:pt x="6431" y="1801"/>
                  </a:lnTo>
                  <a:lnTo>
                    <a:pt x="6433" y="1805"/>
                  </a:lnTo>
                  <a:lnTo>
                    <a:pt x="6433" y="1805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488" y="1866"/>
                  </a:lnTo>
                  <a:lnTo>
                    <a:pt x="6804" y="2076"/>
                  </a:lnTo>
                  <a:lnTo>
                    <a:pt x="6810" y="2080"/>
                  </a:lnTo>
                  <a:close/>
                  <a:moveTo>
                    <a:pt x="1225" y="1086"/>
                  </a:moveTo>
                  <a:lnTo>
                    <a:pt x="1212" y="1099"/>
                  </a:lnTo>
                  <a:lnTo>
                    <a:pt x="1212" y="1101"/>
                  </a:lnTo>
                  <a:lnTo>
                    <a:pt x="1212" y="1101"/>
                  </a:lnTo>
                  <a:lnTo>
                    <a:pt x="1212" y="1129"/>
                  </a:lnTo>
                  <a:lnTo>
                    <a:pt x="1209" y="1153"/>
                  </a:lnTo>
                  <a:lnTo>
                    <a:pt x="1192" y="1166"/>
                  </a:lnTo>
                  <a:lnTo>
                    <a:pt x="1190" y="1166"/>
                  </a:lnTo>
                  <a:lnTo>
                    <a:pt x="1190" y="1168"/>
                  </a:lnTo>
                  <a:lnTo>
                    <a:pt x="1185" y="1181"/>
                  </a:lnTo>
                  <a:lnTo>
                    <a:pt x="1151" y="1181"/>
                  </a:lnTo>
                  <a:lnTo>
                    <a:pt x="1138" y="1162"/>
                  </a:lnTo>
                  <a:lnTo>
                    <a:pt x="1135" y="1159"/>
                  </a:lnTo>
                  <a:lnTo>
                    <a:pt x="1100" y="1159"/>
                  </a:lnTo>
                  <a:lnTo>
                    <a:pt x="1092" y="1151"/>
                  </a:lnTo>
                  <a:lnTo>
                    <a:pt x="1151" y="1081"/>
                  </a:lnTo>
                  <a:lnTo>
                    <a:pt x="1151" y="1079"/>
                  </a:lnTo>
                  <a:lnTo>
                    <a:pt x="1151" y="1079"/>
                  </a:lnTo>
                  <a:lnTo>
                    <a:pt x="1148" y="1045"/>
                  </a:lnTo>
                  <a:lnTo>
                    <a:pt x="1151" y="1042"/>
                  </a:lnTo>
                  <a:lnTo>
                    <a:pt x="1177" y="1038"/>
                  </a:lnTo>
                  <a:lnTo>
                    <a:pt x="1212" y="1042"/>
                  </a:lnTo>
                  <a:lnTo>
                    <a:pt x="1225" y="1062"/>
                  </a:lnTo>
                  <a:lnTo>
                    <a:pt x="1225" y="1086"/>
                  </a:lnTo>
                  <a:close/>
                  <a:moveTo>
                    <a:pt x="1406" y="1168"/>
                  </a:moveTo>
                  <a:lnTo>
                    <a:pt x="1386" y="1185"/>
                  </a:lnTo>
                  <a:lnTo>
                    <a:pt x="1386" y="1185"/>
                  </a:lnTo>
                  <a:lnTo>
                    <a:pt x="1353" y="1224"/>
                  </a:lnTo>
                  <a:lnTo>
                    <a:pt x="1351" y="1224"/>
                  </a:lnTo>
                  <a:lnTo>
                    <a:pt x="1351" y="1227"/>
                  </a:lnTo>
                  <a:lnTo>
                    <a:pt x="1342" y="1259"/>
                  </a:lnTo>
                  <a:lnTo>
                    <a:pt x="1342" y="1261"/>
                  </a:lnTo>
                  <a:lnTo>
                    <a:pt x="1342" y="1261"/>
                  </a:lnTo>
                  <a:lnTo>
                    <a:pt x="1327" y="1274"/>
                  </a:lnTo>
                  <a:lnTo>
                    <a:pt x="1297" y="1274"/>
                  </a:lnTo>
                  <a:lnTo>
                    <a:pt x="1286" y="1261"/>
                  </a:lnTo>
                  <a:lnTo>
                    <a:pt x="1297" y="1261"/>
                  </a:lnTo>
                  <a:lnTo>
                    <a:pt x="1297" y="1261"/>
                  </a:lnTo>
                  <a:lnTo>
                    <a:pt x="1299" y="1261"/>
                  </a:lnTo>
                  <a:lnTo>
                    <a:pt x="1314" y="1248"/>
                  </a:lnTo>
                  <a:lnTo>
                    <a:pt x="1316" y="1250"/>
                  </a:lnTo>
                  <a:lnTo>
                    <a:pt x="1316" y="1246"/>
                  </a:lnTo>
                  <a:lnTo>
                    <a:pt x="1318" y="1246"/>
                  </a:lnTo>
                  <a:lnTo>
                    <a:pt x="1316" y="1246"/>
                  </a:lnTo>
                  <a:lnTo>
                    <a:pt x="1318" y="1242"/>
                  </a:lnTo>
                  <a:lnTo>
                    <a:pt x="1323" y="1231"/>
                  </a:lnTo>
                  <a:lnTo>
                    <a:pt x="1323" y="1231"/>
                  </a:lnTo>
                  <a:lnTo>
                    <a:pt x="1323" y="1229"/>
                  </a:lnTo>
                  <a:lnTo>
                    <a:pt x="1321" y="1194"/>
                  </a:lnTo>
                  <a:lnTo>
                    <a:pt x="1331" y="1170"/>
                  </a:lnTo>
                  <a:lnTo>
                    <a:pt x="1377" y="1123"/>
                  </a:lnTo>
                  <a:lnTo>
                    <a:pt x="1403" y="1127"/>
                  </a:lnTo>
                  <a:lnTo>
                    <a:pt x="1410" y="1142"/>
                  </a:lnTo>
                  <a:lnTo>
                    <a:pt x="1406" y="1168"/>
                  </a:lnTo>
                  <a:close/>
                  <a:moveTo>
                    <a:pt x="4354" y="3068"/>
                  </a:moveTo>
                  <a:lnTo>
                    <a:pt x="4337" y="3084"/>
                  </a:lnTo>
                  <a:lnTo>
                    <a:pt x="4337" y="3084"/>
                  </a:lnTo>
                  <a:lnTo>
                    <a:pt x="4337" y="3084"/>
                  </a:lnTo>
                  <a:lnTo>
                    <a:pt x="4332" y="3094"/>
                  </a:lnTo>
                  <a:lnTo>
                    <a:pt x="4330" y="3094"/>
                  </a:lnTo>
                  <a:lnTo>
                    <a:pt x="4330" y="3097"/>
                  </a:lnTo>
                  <a:lnTo>
                    <a:pt x="4337" y="3114"/>
                  </a:lnTo>
                  <a:lnTo>
                    <a:pt x="4330" y="3129"/>
                  </a:lnTo>
                  <a:lnTo>
                    <a:pt x="4315" y="3133"/>
                  </a:lnTo>
                  <a:lnTo>
                    <a:pt x="4311" y="3133"/>
                  </a:lnTo>
                  <a:lnTo>
                    <a:pt x="4311" y="3138"/>
                  </a:lnTo>
                  <a:lnTo>
                    <a:pt x="4311" y="3155"/>
                  </a:lnTo>
                  <a:lnTo>
                    <a:pt x="4289" y="3190"/>
                  </a:lnTo>
                  <a:lnTo>
                    <a:pt x="4256" y="3201"/>
                  </a:lnTo>
                  <a:lnTo>
                    <a:pt x="4254" y="3201"/>
                  </a:lnTo>
                  <a:lnTo>
                    <a:pt x="4254" y="3203"/>
                  </a:lnTo>
                  <a:lnTo>
                    <a:pt x="4232" y="3231"/>
                  </a:lnTo>
                  <a:lnTo>
                    <a:pt x="4210" y="3229"/>
                  </a:lnTo>
                  <a:lnTo>
                    <a:pt x="4206" y="3229"/>
                  </a:lnTo>
                  <a:lnTo>
                    <a:pt x="4206" y="3233"/>
                  </a:lnTo>
                  <a:lnTo>
                    <a:pt x="4199" y="3270"/>
                  </a:lnTo>
                  <a:lnTo>
                    <a:pt x="4180" y="3290"/>
                  </a:lnTo>
                  <a:lnTo>
                    <a:pt x="4121" y="3316"/>
                  </a:lnTo>
                  <a:lnTo>
                    <a:pt x="4121" y="3316"/>
                  </a:lnTo>
                  <a:lnTo>
                    <a:pt x="4084" y="3316"/>
                  </a:lnTo>
                  <a:lnTo>
                    <a:pt x="4077" y="3300"/>
                  </a:lnTo>
                  <a:lnTo>
                    <a:pt x="4093" y="3292"/>
                  </a:lnTo>
                  <a:lnTo>
                    <a:pt x="4114" y="3287"/>
                  </a:lnTo>
                  <a:lnTo>
                    <a:pt x="4117" y="3287"/>
                  </a:lnTo>
                  <a:lnTo>
                    <a:pt x="4117" y="3287"/>
                  </a:lnTo>
                  <a:lnTo>
                    <a:pt x="4165" y="3255"/>
                  </a:lnTo>
                  <a:lnTo>
                    <a:pt x="4167" y="3255"/>
                  </a:lnTo>
                  <a:lnTo>
                    <a:pt x="4167" y="3253"/>
                  </a:lnTo>
                  <a:lnTo>
                    <a:pt x="4184" y="3227"/>
                  </a:lnTo>
                  <a:lnTo>
                    <a:pt x="4219" y="3196"/>
                  </a:lnTo>
                  <a:lnTo>
                    <a:pt x="4219" y="3194"/>
                  </a:lnTo>
                  <a:lnTo>
                    <a:pt x="4219" y="3194"/>
                  </a:lnTo>
                  <a:lnTo>
                    <a:pt x="4228" y="3170"/>
                  </a:lnTo>
                  <a:lnTo>
                    <a:pt x="4250" y="3136"/>
                  </a:lnTo>
                  <a:lnTo>
                    <a:pt x="4274" y="3097"/>
                  </a:lnTo>
                  <a:lnTo>
                    <a:pt x="4274" y="3094"/>
                  </a:lnTo>
                  <a:lnTo>
                    <a:pt x="4274" y="3094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298" y="3036"/>
                  </a:lnTo>
                  <a:lnTo>
                    <a:pt x="4300" y="3029"/>
                  </a:lnTo>
                  <a:lnTo>
                    <a:pt x="4298" y="3029"/>
                  </a:lnTo>
                  <a:lnTo>
                    <a:pt x="4311" y="2990"/>
                  </a:lnTo>
                  <a:lnTo>
                    <a:pt x="4315" y="2982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17" y="2973"/>
                  </a:lnTo>
                  <a:lnTo>
                    <a:pt x="4326" y="2917"/>
                  </a:lnTo>
                  <a:lnTo>
                    <a:pt x="4341" y="2891"/>
                  </a:lnTo>
                  <a:lnTo>
                    <a:pt x="4359" y="2893"/>
                  </a:lnTo>
                  <a:lnTo>
                    <a:pt x="4361" y="2912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2" y="2964"/>
                  </a:lnTo>
                  <a:lnTo>
                    <a:pt x="4354" y="3016"/>
                  </a:lnTo>
                  <a:lnTo>
                    <a:pt x="4354" y="3016"/>
                  </a:lnTo>
                  <a:lnTo>
                    <a:pt x="4356" y="3016"/>
                  </a:lnTo>
                  <a:lnTo>
                    <a:pt x="4363" y="3042"/>
                  </a:lnTo>
                  <a:lnTo>
                    <a:pt x="4354" y="3068"/>
                  </a:lnTo>
                  <a:close/>
                  <a:moveTo>
                    <a:pt x="6856" y="2670"/>
                  </a:moveTo>
                  <a:lnTo>
                    <a:pt x="6856" y="2668"/>
                  </a:lnTo>
                  <a:lnTo>
                    <a:pt x="6856" y="2668"/>
                  </a:lnTo>
                  <a:lnTo>
                    <a:pt x="6841" y="2646"/>
                  </a:lnTo>
                  <a:lnTo>
                    <a:pt x="6839" y="2642"/>
                  </a:lnTo>
                  <a:lnTo>
                    <a:pt x="6834" y="2644"/>
                  </a:lnTo>
                  <a:lnTo>
                    <a:pt x="6819" y="2661"/>
                  </a:lnTo>
                  <a:lnTo>
                    <a:pt x="6819" y="2661"/>
                  </a:lnTo>
                  <a:lnTo>
                    <a:pt x="6819" y="2663"/>
                  </a:lnTo>
                  <a:lnTo>
                    <a:pt x="6819" y="2696"/>
                  </a:lnTo>
                  <a:lnTo>
                    <a:pt x="6819" y="2730"/>
                  </a:lnTo>
                  <a:lnTo>
                    <a:pt x="6819" y="2730"/>
                  </a:lnTo>
                  <a:lnTo>
                    <a:pt x="6821" y="2748"/>
                  </a:lnTo>
                  <a:lnTo>
                    <a:pt x="6821" y="2750"/>
                  </a:lnTo>
                  <a:lnTo>
                    <a:pt x="6845" y="2750"/>
                  </a:lnTo>
                  <a:lnTo>
                    <a:pt x="6845" y="2748"/>
                  </a:lnTo>
                  <a:lnTo>
                    <a:pt x="6858" y="2709"/>
                  </a:lnTo>
                  <a:lnTo>
                    <a:pt x="6858" y="2709"/>
                  </a:lnTo>
                  <a:lnTo>
                    <a:pt x="6858" y="2707"/>
                  </a:lnTo>
                  <a:lnTo>
                    <a:pt x="6856" y="2670"/>
                  </a:lnTo>
                  <a:close/>
                  <a:moveTo>
                    <a:pt x="6815" y="2975"/>
                  </a:moveTo>
                  <a:lnTo>
                    <a:pt x="6815" y="2973"/>
                  </a:lnTo>
                  <a:lnTo>
                    <a:pt x="6815" y="2973"/>
                  </a:lnTo>
                  <a:lnTo>
                    <a:pt x="6806" y="2960"/>
                  </a:lnTo>
                  <a:lnTo>
                    <a:pt x="6804" y="2956"/>
                  </a:lnTo>
                  <a:lnTo>
                    <a:pt x="6799" y="2960"/>
                  </a:lnTo>
                  <a:lnTo>
                    <a:pt x="6791" y="2969"/>
                  </a:lnTo>
                  <a:lnTo>
                    <a:pt x="6789" y="2971"/>
                  </a:lnTo>
                  <a:lnTo>
                    <a:pt x="6789" y="2971"/>
                  </a:lnTo>
                  <a:lnTo>
                    <a:pt x="6789" y="2986"/>
                  </a:lnTo>
                  <a:lnTo>
                    <a:pt x="6789" y="2988"/>
                  </a:lnTo>
                  <a:lnTo>
                    <a:pt x="6789" y="2988"/>
                  </a:lnTo>
                  <a:lnTo>
                    <a:pt x="6795" y="3001"/>
                  </a:lnTo>
                  <a:lnTo>
                    <a:pt x="6797" y="3006"/>
                  </a:lnTo>
                  <a:lnTo>
                    <a:pt x="6799" y="3003"/>
                  </a:lnTo>
                  <a:lnTo>
                    <a:pt x="6817" y="2997"/>
                  </a:lnTo>
                  <a:lnTo>
                    <a:pt x="6819" y="2997"/>
                  </a:lnTo>
                  <a:lnTo>
                    <a:pt x="6819" y="2993"/>
                  </a:lnTo>
                  <a:lnTo>
                    <a:pt x="6815" y="2975"/>
                  </a:lnTo>
                  <a:close/>
                  <a:moveTo>
                    <a:pt x="6745" y="2945"/>
                  </a:moveTo>
                  <a:lnTo>
                    <a:pt x="6743" y="2945"/>
                  </a:lnTo>
                  <a:lnTo>
                    <a:pt x="6743" y="2945"/>
                  </a:lnTo>
                  <a:lnTo>
                    <a:pt x="6725" y="2954"/>
                  </a:lnTo>
                  <a:lnTo>
                    <a:pt x="6725" y="2954"/>
                  </a:lnTo>
                  <a:lnTo>
                    <a:pt x="6723" y="2954"/>
                  </a:lnTo>
                  <a:lnTo>
                    <a:pt x="6714" y="2960"/>
                  </a:lnTo>
                  <a:lnTo>
                    <a:pt x="6712" y="2962"/>
                  </a:lnTo>
                  <a:lnTo>
                    <a:pt x="6714" y="2967"/>
                  </a:lnTo>
                  <a:lnTo>
                    <a:pt x="6721" y="2990"/>
                  </a:lnTo>
                  <a:lnTo>
                    <a:pt x="6719" y="3023"/>
                  </a:lnTo>
                  <a:lnTo>
                    <a:pt x="6719" y="3023"/>
                  </a:lnTo>
                  <a:lnTo>
                    <a:pt x="6719" y="3025"/>
                  </a:lnTo>
                  <a:lnTo>
                    <a:pt x="6728" y="3047"/>
                  </a:lnTo>
                  <a:lnTo>
                    <a:pt x="6728" y="3051"/>
                  </a:lnTo>
                  <a:lnTo>
                    <a:pt x="6732" y="3049"/>
                  </a:lnTo>
                  <a:lnTo>
                    <a:pt x="6741" y="3047"/>
                  </a:lnTo>
                  <a:lnTo>
                    <a:pt x="6743" y="3045"/>
                  </a:lnTo>
                  <a:lnTo>
                    <a:pt x="6743" y="3042"/>
                  </a:lnTo>
                  <a:lnTo>
                    <a:pt x="6747" y="2984"/>
                  </a:lnTo>
                  <a:lnTo>
                    <a:pt x="6756" y="2975"/>
                  </a:lnTo>
                  <a:lnTo>
                    <a:pt x="6756" y="2973"/>
                  </a:lnTo>
                  <a:lnTo>
                    <a:pt x="6756" y="2973"/>
                  </a:lnTo>
                  <a:lnTo>
                    <a:pt x="6758" y="2956"/>
                  </a:lnTo>
                  <a:lnTo>
                    <a:pt x="6758" y="2954"/>
                  </a:lnTo>
                  <a:lnTo>
                    <a:pt x="6756" y="2954"/>
                  </a:lnTo>
                  <a:lnTo>
                    <a:pt x="6745" y="2945"/>
                  </a:lnTo>
                  <a:close/>
                  <a:moveTo>
                    <a:pt x="6804" y="2821"/>
                  </a:moveTo>
                  <a:lnTo>
                    <a:pt x="6804" y="2821"/>
                  </a:lnTo>
                  <a:lnTo>
                    <a:pt x="6817" y="2802"/>
                  </a:lnTo>
                  <a:lnTo>
                    <a:pt x="6817" y="2800"/>
                  </a:lnTo>
                  <a:lnTo>
                    <a:pt x="6817" y="2798"/>
                  </a:lnTo>
                  <a:lnTo>
                    <a:pt x="6810" y="2776"/>
                  </a:lnTo>
                  <a:lnTo>
                    <a:pt x="6810" y="2774"/>
                  </a:lnTo>
                  <a:lnTo>
                    <a:pt x="6808" y="2774"/>
                  </a:lnTo>
                  <a:lnTo>
                    <a:pt x="6791" y="2772"/>
                  </a:lnTo>
                  <a:lnTo>
                    <a:pt x="6786" y="2772"/>
                  </a:lnTo>
                  <a:lnTo>
                    <a:pt x="6786" y="2778"/>
                  </a:lnTo>
                  <a:lnTo>
                    <a:pt x="6789" y="2793"/>
                  </a:lnTo>
                  <a:lnTo>
                    <a:pt x="6778" y="2800"/>
                  </a:lnTo>
                  <a:lnTo>
                    <a:pt x="6778" y="2800"/>
                  </a:lnTo>
                  <a:lnTo>
                    <a:pt x="6778" y="2802"/>
                  </a:lnTo>
                  <a:lnTo>
                    <a:pt x="6758" y="2821"/>
                  </a:lnTo>
                  <a:lnTo>
                    <a:pt x="6756" y="2824"/>
                  </a:lnTo>
                  <a:lnTo>
                    <a:pt x="6756" y="282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58" y="2876"/>
                  </a:lnTo>
                  <a:lnTo>
                    <a:pt x="6765" y="2917"/>
                  </a:lnTo>
                  <a:lnTo>
                    <a:pt x="6765" y="2919"/>
                  </a:lnTo>
                  <a:lnTo>
                    <a:pt x="6767" y="2919"/>
                  </a:lnTo>
                  <a:lnTo>
                    <a:pt x="6773" y="2923"/>
                  </a:lnTo>
                  <a:lnTo>
                    <a:pt x="6780" y="2925"/>
                  </a:lnTo>
                  <a:lnTo>
                    <a:pt x="6780" y="2921"/>
                  </a:lnTo>
                  <a:lnTo>
                    <a:pt x="6782" y="2897"/>
                  </a:lnTo>
                  <a:lnTo>
                    <a:pt x="6786" y="2867"/>
                  </a:lnTo>
                  <a:lnTo>
                    <a:pt x="6786" y="2865"/>
                  </a:lnTo>
                  <a:lnTo>
                    <a:pt x="6789" y="2843"/>
                  </a:lnTo>
                  <a:lnTo>
                    <a:pt x="6804" y="2821"/>
                  </a:lnTo>
                  <a:close/>
                  <a:moveTo>
                    <a:pt x="3099" y="1175"/>
                  </a:moveTo>
                  <a:lnTo>
                    <a:pt x="3095" y="1175"/>
                  </a:lnTo>
                  <a:lnTo>
                    <a:pt x="3084" y="1179"/>
                  </a:lnTo>
                  <a:lnTo>
                    <a:pt x="3079" y="1181"/>
                  </a:lnTo>
                  <a:lnTo>
                    <a:pt x="3079" y="1183"/>
                  </a:lnTo>
                  <a:lnTo>
                    <a:pt x="3084" y="1201"/>
                  </a:lnTo>
                  <a:lnTo>
                    <a:pt x="3086" y="1203"/>
                  </a:lnTo>
                  <a:lnTo>
                    <a:pt x="3088" y="1203"/>
                  </a:lnTo>
                  <a:lnTo>
                    <a:pt x="3103" y="1205"/>
                  </a:lnTo>
                  <a:lnTo>
                    <a:pt x="3108" y="1205"/>
                  </a:lnTo>
                  <a:lnTo>
                    <a:pt x="3108" y="1203"/>
                  </a:lnTo>
                  <a:lnTo>
                    <a:pt x="3112" y="1192"/>
                  </a:lnTo>
                  <a:lnTo>
                    <a:pt x="3112" y="1190"/>
                  </a:lnTo>
                  <a:lnTo>
                    <a:pt x="3110" y="1188"/>
                  </a:lnTo>
                  <a:lnTo>
                    <a:pt x="3101" y="1177"/>
                  </a:lnTo>
                  <a:lnTo>
                    <a:pt x="3099" y="1175"/>
                  </a:lnTo>
                  <a:close/>
                  <a:moveTo>
                    <a:pt x="3060" y="388"/>
                  </a:moveTo>
                  <a:lnTo>
                    <a:pt x="3058" y="390"/>
                  </a:lnTo>
                  <a:lnTo>
                    <a:pt x="3049" y="403"/>
                  </a:lnTo>
                  <a:lnTo>
                    <a:pt x="3047" y="407"/>
                  </a:lnTo>
                  <a:lnTo>
                    <a:pt x="3049" y="410"/>
                  </a:lnTo>
                  <a:lnTo>
                    <a:pt x="3062" y="423"/>
                  </a:lnTo>
                  <a:lnTo>
                    <a:pt x="3066" y="425"/>
                  </a:lnTo>
                  <a:lnTo>
                    <a:pt x="3068" y="423"/>
                  </a:lnTo>
                  <a:lnTo>
                    <a:pt x="3084" y="410"/>
                  </a:lnTo>
                  <a:lnTo>
                    <a:pt x="3079" y="414"/>
                  </a:lnTo>
                  <a:lnTo>
                    <a:pt x="3077" y="418"/>
                  </a:lnTo>
                  <a:lnTo>
                    <a:pt x="3079" y="420"/>
                  </a:lnTo>
                  <a:lnTo>
                    <a:pt x="3090" y="429"/>
                  </a:lnTo>
                  <a:lnTo>
                    <a:pt x="3092" y="431"/>
                  </a:lnTo>
                  <a:lnTo>
                    <a:pt x="3095" y="429"/>
                  </a:lnTo>
                  <a:lnTo>
                    <a:pt x="3114" y="420"/>
                  </a:lnTo>
                  <a:lnTo>
                    <a:pt x="3114" y="418"/>
                  </a:lnTo>
                  <a:lnTo>
                    <a:pt x="3116" y="418"/>
                  </a:lnTo>
                  <a:lnTo>
                    <a:pt x="3121" y="394"/>
                  </a:lnTo>
                  <a:lnTo>
                    <a:pt x="3123" y="392"/>
                  </a:lnTo>
                  <a:lnTo>
                    <a:pt x="3119" y="390"/>
                  </a:lnTo>
                  <a:lnTo>
                    <a:pt x="3103" y="386"/>
                  </a:lnTo>
                  <a:lnTo>
                    <a:pt x="3101" y="386"/>
                  </a:lnTo>
                  <a:lnTo>
                    <a:pt x="3099" y="388"/>
                  </a:lnTo>
                  <a:lnTo>
                    <a:pt x="3090" y="401"/>
                  </a:lnTo>
                  <a:lnTo>
                    <a:pt x="3088" y="401"/>
                  </a:lnTo>
                  <a:lnTo>
                    <a:pt x="3079" y="386"/>
                  </a:lnTo>
                  <a:lnTo>
                    <a:pt x="3077" y="384"/>
                  </a:lnTo>
                  <a:lnTo>
                    <a:pt x="3075" y="384"/>
                  </a:lnTo>
                  <a:lnTo>
                    <a:pt x="3060" y="388"/>
                  </a:lnTo>
                  <a:lnTo>
                    <a:pt x="3060" y="388"/>
                  </a:lnTo>
                  <a:close/>
                  <a:moveTo>
                    <a:pt x="6945" y="1365"/>
                  </a:moveTo>
                  <a:lnTo>
                    <a:pt x="6930" y="1361"/>
                  </a:lnTo>
                  <a:lnTo>
                    <a:pt x="6928" y="1361"/>
                  </a:lnTo>
                  <a:lnTo>
                    <a:pt x="6928" y="1361"/>
                  </a:lnTo>
                  <a:lnTo>
                    <a:pt x="6891" y="1376"/>
                  </a:lnTo>
                  <a:lnTo>
                    <a:pt x="6884" y="1378"/>
                  </a:lnTo>
                  <a:lnTo>
                    <a:pt x="6889" y="1383"/>
                  </a:lnTo>
                  <a:lnTo>
                    <a:pt x="6906" y="1400"/>
                  </a:lnTo>
                  <a:lnTo>
                    <a:pt x="6908" y="1402"/>
                  </a:lnTo>
                  <a:lnTo>
                    <a:pt x="6913" y="1400"/>
                  </a:lnTo>
                  <a:lnTo>
                    <a:pt x="6948" y="1372"/>
                  </a:lnTo>
                  <a:lnTo>
                    <a:pt x="6954" y="1365"/>
                  </a:lnTo>
                  <a:lnTo>
                    <a:pt x="6945" y="1365"/>
                  </a:lnTo>
                  <a:close/>
                  <a:moveTo>
                    <a:pt x="3055" y="332"/>
                  </a:moveTo>
                  <a:lnTo>
                    <a:pt x="3053" y="338"/>
                  </a:lnTo>
                  <a:lnTo>
                    <a:pt x="3047" y="347"/>
                  </a:lnTo>
                  <a:lnTo>
                    <a:pt x="3047" y="349"/>
                  </a:lnTo>
                  <a:lnTo>
                    <a:pt x="3047" y="351"/>
                  </a:lnTo>
                  <a:lnTo>
                    <a:pt x="3051" y="366"/>
                  </a:lnTo>
                  <a:lnTo>
                    <a:pt x="3051" y="373"/>
                  </a:lnTo>
                  <a:lnTo>
                    <a:pt x="3058" y="368"/>
                  </a:lnTo>
                  <a:lnTo>
                    <a:pt x="3066" y="362"/>
                  </a:lnTo>
                  <a:lnTo>
                    <a:pt x="3068" y="360"/>
                  </a:lnTo>
                  <a:lnTo>
                    <a:pt x="3068" y="355"/>
                  </a:lnTo>
                  <a:lnTo>
                    <a:pt x="3060" y="338"/>
                  </a:lnTo>
                  <a:lnTo>
                    <a:pt x="3055" y="332"/>
                  </a:lnTo>
                  <a:close/>
                  <a:moveTo>
                    <a:pt x="3121" y="459"/>
                  </a:moveTo>
                  <a:lnTo>
                    <a:pt x="3123" y="457"/>
                  </a:lnTo>
                  <a:lnTo>
                    <a:pt x="3121" y="455"/>
                  </a:lnTo>
                  <a:lnTo>
                    <a:pt x="3112" y="440"/>
                  </a:lnTo>
                  <a:lnTo>
                    <a:pt x="3110" y="433"/>
                  </a:lnTo>
                  <a:lnTo>
                    <a:pt x="3105" y="440"/>
                  </a:lnTo>
                  <a:lnTo>
                    <a:pt x="3097" y="451"/>
                  </a:lnTo>
                  <a:lnTo>
                    <a:pt x="3095" y="453"/>
                  </a:lnTo>
                  <a:lnTo>
                    <a:pt x="3097" y="457"/>
                  </a:lnTo>
                  <a:lnTo>
                    <a:pt x="3105" y="470"/>
                  </a:lnTo>
                  <a:lnTo>
                    <a:pt x="3108" y="475"/>
                  </a:lnTo>
                  <a:lnTo>
                    <a:pt x="3112" y="470"/>
                  </a:lnTo>
                  <a:lnTo>
                    <a:pt x="3121" y="459"/>
                  </a:lnTo>
                  <a:close/>
                  <a:moveTo>
                    <a:pt x="3140" y="314"/>
                  </a:moveTo>
                  <a:lnTo>
                    <a:pt x="3140" y="316"/>
                  </a:lnTo>
                  <a:lnTo>
                    <a:pt x="3143" y="316"/>
                  </a:lnTo>
                  <a:lnTo>
                    <a:pt x="3160" y="329"/>
                  </a:lnTo>
                  <a:lnTo>
                    <a:pt x="3162" y="332"/>
                  </a:lnTo>
                  <a:lnTo>
                    <a:pt x="3166" y="327"/>
                  </a:lnTo>
                  <a:lnTo>
                    <a:pt x="3175" y="312"/>
                  </a:lnTo>
                  <a:lnTo>
                    <a:pt x="3177" y="310"/>
                  </a:lnTo>
                  <a:lnTo>
                    <a:pt x="3175" y="308"/>
                  </a:lnTo>
                  <a:lnTo>
                    <a:pt x="3166" y="288"/>
                  </a:lnTo>
                  <a:lnTo>
                    <a:pt x="3164" y="284"/>
                  </a:lnTo>
                  <a:lnTo>
                    <a:pt x="3160" y="286"/>
                  </a:lnTo>
                  <a:lnTo>
                    <a:pt x="3140" y="297"/>
                  </a:lnTo>
                  <a:lnTo>
                    <a:pt x="3136" y="299"/>
                  </a:lnTo>
                  <a:lnTo>
                    <a:pt x="3138" y="301"/>
                  </a:lnTo>
                  <a:lnTo>
                    <a:pt x="3140" y="314"/>
                  </a:lnTo>
                  <a:close/>
                  <a:moveTo>
                    <a:pt x="3099" y="362"/>
                  </a:moveTo>
                  <a:lnTo>
                    <a:pt x="3101" y="362"/>
                  </a:lnTo>
                  <a:lnTo>
                    <a:pt x="3101" y="362"/>
                  </a:lnTo>
                  <a:lnTo>
                    <a:pt x="3136" y="373"/>
                  </a:lnTo>
                  <a:lnTo>
                    <a:pt x="3140" y="375"/>
                  </a:lnTo>
                  <a:lnTo>
                    <a:pt x="3140" y="371"/>
                  </a:lnTo>
                  <a:lnTo>
                    <a:pt x="3145" y="345"/>
                  </a:lnTo>
                  <a:lnTo>
                    <a:pt x="3145" y="342"/>
                  </a:lnTo>
                  <a:lnTo>
                    <a:pt x="3143" y="340"/>
                  </a:lnTo>
                  <a:lnTo>
                    <a:pt x="3110" y="312"/>
                  </a:lnTo>
                  <a:lnTo>
                    <a:pt x="3108" y="310"/>
                  </a:lnTo>
                  <a:lnTo>
                    <a:pt x="3105" y="312"/>
                  </a:lnTo>
                  <a:lnTo>
                    <a:pt x="3079" y="329"/>
                  </a:lnTo>
                  <a:lnTo>
                    <a:pt x="3075" y="332"/>
                  </a:lnTo>
                  <a:lnTo>
                    <a:pt x="3077" y="336"/>
                  </a:lnTo>
                  <a:lnTo>
                    <a:pt x="3099" y="362"/>
                  </a:lnTo>
                  <a:close/>
                  <a:moveTo>
                    <a:pt x="3042" y="284"/>
                  </a:moveTo>
                  <a:lnTo>
                    <a:pt x="3047" y="288"/>
                  </a:lnTo>
                  <a:lnTo>
                    <a:pt x="3049" y="286"/>
                  </a:lnTo>
                  <a:lnTo>
                    <a:pt x="3064" y="271"/>
                  </a:lnTo>
                  <a:lnTo>
                    <a:pt x="3060" y="269"/>
                  </a:lnTo>
                  <a:lnTo>
                    <a:pt x="3042" y="254"/>
                  </a:lnTo>
                  <a:lnTo>
                    <a:pt x="3038" y="249"/>
                  </a:lnTo>
                  <a:lnTo>
                    <a:pt x="3036" y="254"/>
                  </a:lnTo>
                  <a:lnTo>
                    <a:pt x="3031" y="264"/>
                  </a:lnTo>
                  <a:lnTo>
                    <a:pt x="3029" y="267"/>
                  </a:lnTo>
                  <a:lnTo>
                    <a:pt x="3031" y="269"/>
                  </a:lnTo>
                  <a:lnTo>
                    <a:pt x="3042" y="284"/>
                  </a:lnTo>
                  <a:close/>
                  <a:moveTo>
                    <a:pt x="3186" y="293"/>
                  </a:moveTo>
                  <a:lnTo>
                    <a:pt x="3186" y="293"/>
                  </a:lnTo>
                  <a:lnTo>
                    <a:pt x="3186" y="293"/>
                  </a:lnTo>
                  <a:lnTo>
                    <a:pt x="3195" y="301"/>
                  </a:lnTo>
                  <a:lnTo>
                    <a:pt x="3197" y="303"/>
                  </a:lnTo>
                  <a:lnTo>
                    <a:pt x="3201" y="301"/>
                  </a:lnTo>
                  <a:lnTo>
                    <a:pt x="3212" y="293"/>
                  </a:lnTo>
                  <a:lnTo>
                    <a:pt x="3217" y="290"/>
                  </a:lnTo>
                  <a:lnTo>
                    <a:pt x="3212" y="286"/>
                  </a:lnTo>
                  <a:lnTo>
                    <a:pt x="3195" y="271"/>
                  </a:lnTo>
                  <a:lnTo>
                    <a:pt x="3193" y="269"/>
                  </a:lnTo>
                  <a:lnTo>
                    <a:pt x="3190" y="271"/>
                  </a:lnTo>
                  <a:lnTo>
                    <a:pt x="3182" y="277"/>
                  </a:lnTo>
                  <a:lnTo>
                    <a:pt x="3180" y="280"/>
                  </a:lnTo>
                  <a:lnTo>
                    <a:pt x="3180" y="282"/>
                  </a:lnTo>
                  <a:lnTo>
                    <a:pt x="3186" y="293"/>
                  </a:lnTo>
                  <a:close/>
                  <a:moveTo>
                    <a:pt x="2430" y="1055"/>
                  </a:moveTo>
                  <a:lnTo>
                    <a:pt x="2430" y="1062"/>
                  </a:lnTo>
                  <a:lnTo>
                    <a:pt x="2436" y="1058"/>
                  </a:lnTo>
                  <a:lnTo>
                    <a:pt x="2452" y="1047"/>
                  </a:lnTo>
                  <a:lnTo>
                    <a:pt x="2452" y="1047"/>
                  </a:lnTo>
                  <a:lnTo>
                    <a:pt x="2452" y="1016"/>
                  </a:lnTo>
                  <a:lnTo>
                    <a:pt x="2449" y="1016"/>
                  </a:lnTo>
                  <a:lnTo>
                    <a:pt x="2432" y="1012"/>
                  </a:lnTo>
                  <a:lnTo>
                    <a:pt x="2426" y="1012"/>
                  </a:lnTo>
                  <a:lnTo>
                    <a:pt x="2428" y="1016"/>
                  </a:lnTo>
                  <a:lnTo>
                    <a:pt x="2430" y="1055"/>
                  </a:lnTo>
                  <a:close/>
                  <a:moveTo>
                    <a:pt x="2931" y="256"/>
                  </a:moveTo>
                  <a:lnTo>
                    <a:pt x="2931" y="258"/>
                  </a:lnTo>
                  <a:lnTo>
                    <a:pt x="2933" y="260"/>
                  </a:lnTo>
                  <a:lnTo>
                    <a:pt x="2949" y="271"/>
                  </a:lnTo>
                  <a:lnTo>
                    <a:pt x="2951" y="273"/>
                  </a:lnTo>
                  <a:lnTo>
                    <a:pt x="2953" y="273"/>
                  </a:lnTo>
                  <a:lnTo>
                    <a:pt x="2973" y="271"/>
                  </a:lnTo>
                  <a:lnTo>
                    <a:pt x="2986" y="282"/>
                  </a:lnTo>
                  <a:lnTo>
                    <a:pt x="2990" y="284"/>
                  </a:lnTo>
                  <a:lnTo>
                    <a:pt x="2973" y="286"/>
                  </a:lnTo>
                  <a:lnTo>
                    <a:pt x="2970" y="286"/>
                  </a:lnTo>
                  <a:lnTo>
                    <a:pt x="2970" y="286"/>
                  </a:lnTo>
                  <a:lnTo>
                    <a:pt x="2959" y="290"/>
                  </a:lnTo>
                  <a:lnTo>
                    <a:pt x="2935" y="284"/>
                  </a:lnTo>
                  <a:lnTo>
                    <a:pt x="2931" y="282"/>
                  </a:lnTo>
                  <a:lnTo>
                    <a:pt x="2931" y="288"/>
                  </a:lnTo>
                  <a:lnTo>
                    <a:pt x="2929" y="306"/>
                  </a:lnTo>
                  <a:lnTo>
                    <a:pt x="2929" y="308"/>
                  </a:lnTo>
                  <a:lnTo>
                    <a:pt x="2931" y="310"/>
                  </a:lnTo>
                  <a:lnTo>
                    <a:pt x="2946" y="327"/>
                  </a:lnTo>
                  <a:lnTo>
                    <a:pt x="2964" y="347"/>
                  </a:lnTo>
                  <a:lnTo>
                    <a:pt x="2968" y="351"/>
                  </a:lnTo>
                  <a:lnTo>
                    <a:pt x="2970" y="347"/>
                  </a:lnTo>
                  <a:lnTo>
                    <a:pt x="2975" y="336"/>
                  </a:lnTo>
                  <a:lnTo>
                    <a:pt x="2977" y="336"/>
                  </a:lnTo>
                  <a:lnTo>
                    <a:pt x="2977" y="334"/>
                  </a:lnTo>
                  <a:lnTo>
                    <a:pt x="2973" y="319"/>
                  </a:lnTo>
                  <a:lnTo>
                    <a:pt x="2990" y="314"/>
                  </a:lnTo>
                  <a:lnTo>
                    <a:pt x="3018" y="323"/>
                  </a:lnTo>
                  <a:lnTo>
                    <a:pt x="3020" y="323"/>
                  </a:lnTo>
                  <a:lnTo>
                    <a:pt x="3023" y="323"/>
                  </a:lnTo>
                  <a:lnTo>
                    <a:pt x="3042" y="303"/>
                  </a:lnTo>
                  <a:lnTo>
                    <a:pt x="3044" y="301"/>
                  </a:lnTo>
                  <a:lnTo>
                    <a:pt x="3042" y="297"/>
                  </a:lnTo>
                  <a:lnTo>
                    <a:pt x="3025" y="277"/>
                  </a:lnTo>
                  <a:lnTo>
                    <a:pt x="3025" y="277"/>
                  </a:lnTo>
                  <a:lnTo>
                    <a:pt x="3023" y="277"/>
                  </a:lnTo>
                  <a:lnTo>
                    <a:pt x="3010" y="271"/>
                  </a:lnTo>
                  <a:lnTo>
                    <a:pt x="3007" y="271"/>
                  </a:lnTo>
                  <a:lnTo>
                    <a:pt x="3005" y="273"/>
                  </a:lnTo>
                  <a:lnTo>
                    <a:pt x="2990" y="284"/>
                  </a:lnTo>
                  <a:lnTo>
                    <a:pt x="2990" y="284"/>
                  </a:lnTo>
                  <a:lnTo>
                    <a:pt x="2992" y="280"/>
                  </a:lnTo>
                  <a:lnTo>
                    <a:pt x="3001" y="269"/>
                  </a:lnTo>
                  <a:lnTo>
                    <a:pt x="3003" y="267"/>
                  </a:lnTo>
                  <a:lnTo>
                    <a:pt x="3001" y="264"/>
                  </a:lnTo>
                  <a:lnTo>
                    <a:pt x="2983" y="249"/>
                  </a:lnTo>
                  <a:lnTo>
                    <a:pt x="2981" y="247"/>
                  </a:lnTo>
                  <a:lnTo>
                    <a:pt x="2979" y="247"/>
                  </a:lnTo>
                  <a:lnTo>
                    <a:pt x="2964" y="251"/>
                  </a:lnTo>
                  <a:lnTo>
                    <a:pt x="2933" y="232"/>
                  </a:lnTo>
                  <a:lnTo>
                    <a:pt x="2925" y="225"/>
                  </a:lnTo>
                  <a:lnTo>
                    <a:pt x="2927" y="236"/>
                  </a:lnTo>
                  <a:lnTo>
                    <a:pt x="2931" y="256"/>
                  </a:lnTo>
                  <a:close/>
                  <a:moveTo>
                    <a:pt x="427" y="1075"/>
                  </a:moveTo>
                  <a:lnTo>
                    <a:pt x="427" y="1077"/>
                  </a:lnTo>
                  <a:lnTo>
                    <a:pt x="431" y="1075"/>
                  </a:lnTo>
                  <a:lnTo>
                    <a:pt x="479" y="1051"/>
                  </a:lnTo>
                  <a:lnTo>
                    <a:pt x="482" y="1049"/>
                  </a:lnTo>
                  <a:lnTo>
                    <a:pt x="482" y="1047"/>
                  </a:lnTo>
                  <a:lnTo>
                    <a:pt x="486" y="956"/>
                  </a:lnTo>
                  <a:lnTo>
                    <a:pt x="486" y="956"/>
                  </a:lnTo>
                  <a:lnTo>
                    <a:pt x="486" y="954"/>
                  </a:lnTo>
                  <a:lnTo>
                    <a:pt x="462" y="919"/>
                  </a:lnTo>
                  <a:lnTo>
                    <a:pt x="458" y="910"/>
                  </a:lnTo>
                  <a:lnTo>
                    <a:pt x="455" y="921"/>
                  </a:lnTo>
                  <a:lnTo>
                    <a:pt x="447" y="956"/>
                  </a:lnTo>
                  <a:lnTo>
                    <a:pt x="429" y="945"/>
                  </a:lnTo>
                  <a:lnTo>
                    <a:pt x="412" y="893"/>
                  </a:lnTo>
                  <a:lnTo>
                    <a:pt x="410" y="889"/>
                  </a:lnTo>
                  <a:lnTo>
                    <a:pt x="405" y="891"/>
                  </a:lnTo>
                  <a:lnTo>
                    <a:pt x="383" y="904"/>
                  </a:lnTo>
                  <a:lnTo>
                    <a:pt x="353" y="902"/>
                  </a:lnTo>
                  <a:lnTo>
                    <a:pt x="346" y="902"/>
                  </a:lnTo>
                  <a:lnTo>
                    <a:pt x="349" y="908"/>
                  </a:lnTo>
                  <a:lnTo>
                    <a:pt x="427" y="1075"/>
                  </a:lnTo>
                  <a:close/>
                  <a:moveTo>
                    <a:pt x="2194" y="1149"/>
                  </a:moveTo>
                  <a:lnTo>
                    <a:pt x="2194" y="1151"/>
                  </a:lnTo>
                  <a:lnTo>
                    <a:pt x="2197" y="1151"/>
                  </a:lnTo>
                  <a:lnTo>
                    <a:pt x="2242" y="1153"/>
                  </a:lnTo>
                  <a:lnTo>
                    <a:pt x="2247" y="1153"/>
                  </a:lnTo>
                  <a:lnTo>
                    <a:pt x="2247" y="1149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53" y="1131"/>
                  </a:lnTo>
                  <a:lnTo>
                    <a:pt x="2249" y="1105"/>
                  </a:lnTo>
                  <a:lnTo>
                    <a:pt x="2249" y="1103"/>
                  </a:lnTo>
                  <a:lnTo>
                    <a:pt x="2249" y="1103"/>
                  </a:lnTo>
                  <a:lnTo>
                    <a:pt x="2225" y="1077"/>
                  </a:lnTo>
                  <a:lnTo>
                    <a:pt x="2223" y="1075"/>
                  </a:lnTo>
                  <a:lnTo>
                    <a:pt x="2218" y="1075"/>
                  </a:lnTo>
                  <a:lnTo>
                    <a:pt x="2184" y="1088"/>
                  </a:lnTo>
                  <a:lnTo>
                    <a:pt x="2181" y="1088"/>
                  </a:lnTo>
                  <a:lnTo>
                    <a:pt x="2181" y="1090"/>
                  </a:lnTo>
                  <a:lnTo>
                    <a:pt x="2173" y="1120"/>
                  </a:lnTo>
                  <a:lnTo>
                    <a:pt x="2173" y="1123"/>
                  </a:lnTo>
                  <a:lnTo>
                    <a:pt x="2175" y="1125"/>
                  </a:lnTo>
                  <a:lnTo>
                    <a:pt x="2194" y="1149"/>
                  </a:lnTo>
                  <a:close/>
                  <a:moveTo>
                    <a:pt x="3036" y="345"/>
                  </a:moveTo>
                  <a:lnTo>
                    <a:pt x="3034" y="340"/>
                  </a:lnTo>
                  <a:lnTo>
                    <a:pt x="3029" y="342"/>
                  </a:lnTo>
                  <a:lnTo>
                    <a:pt x="3005" y="353"/>
                  </a:lnTo>
                  <a:lnTo>
                    <a:pt x="3001" y="355"/>
                  </a:lnTo>
                  <a:lnTo>
                    <a:pt x="3003" y="360"/>
                  </a:lnTo>
                  <a:lnTo>
                    <a:pt x="3018" y="386"/>
                  </a:lnTo>
                  <a:lnTo>
                    <a:pt x="3020" y="390"/>
                  </a:lnTo>
                  <a:lnTo>
                    <a:pt x="3025" y="386"/>
                  </a:lnTo>
                  <a:lnTo>
                    <a:pt x="3042" y="368"/>
                  </a:lnTo>
                  <a:lnTo>
                    <a:pt x="3044" y="368"/>
                  </a:lnTo>
                  <a:lnTo>
                    <a:pt x="3044" y="364"/>
                  </a:lnTo>
                  <a:lnTo>
                    <a:pt x="3036" y="345"/>
                  </a:lnTo>
                  <a:close/>
                  <a:moveTo>
                    <a:pt x="2458" y="1021"/>
                  </a:moveTo>
                  <a:lnTo>
                    <a:pt x="2458" y="1055"/>
                  </a:lnTo>
                  <a:lnTo>
                    <a:pt x="2436" y="1077"/>
                  </a:lnTo>
                  <a:lnTo>
                    <a:pt x="2434" y="1079"/>
                  </a:lnTo>
                  <a:lnTo>
                    <a:pt x="2434" y="1081"/>
                  </a:lnTo>
                  <a:lnTo>
                    <a:pt x="2454" y="1123"/>
                  </a:lnTo>
                  <a:lnTo>
                    <a:pt x="2454" y="1125"/>
                  </a:lnTo>
                  <a:lnTo>
                    <a:pt x="2456" y="1125"/>
                  </a:lnTo>
                  <a:lnTo>
                    <a:pt x="2476" y="1127"/>
                  </a:lnTo>
                  <a:lnTo>
                    <a:pt x="2476" y="1142"/>
                  </a:lnTo>
                  <a:lnTo>
                    <a:pt x="2476" y="1146"/>
                  </a:lnTo>
                  <a:lnTo>
                    <a:pt x="2480" y="1146"/>
                  </a:lnTo>
                  <a:lnTo>
                    <a:pt x="2502" y="1151"/>
                  </a:lnTo>
                  <a:lnTo>
                    <a:pt x="2517" y="1159"/>
                  </a:lnTo>
                  <a:lnTo>
                    <a:pt x="2524" y="1162"/>
                  </a:lnTo>
                  <a:lnTo>
                    <a:pt x="2524" y="1155"/>
                  </a:lnTo>
                  <a:lnTo>
                    <a:pt x="2534" y="1055"/>
                  </a:lnTo>
                  <a:lnTo>
                    <a:pt x="2543" y="1019"/>
                  </a:lnTo>
                  <a:lnTo>
                    <a:pt x="2574" y="984"/>
                  </a:lnTo>
                  <a:lnTo>
                    <a:pt x="2613" y="971"/>
                  </a:lnTo>
                  <a:lnTo>
                    <a:pt x="2615" y="971"/>
                  </a:lnTo>
                  <a:lnTo>
                    <a:pt x="2615" y="971"/>
                  </a:lnTo>
                  <a:lnTo>
                    <a:pt x="2630" y="947"/>
                  </a:lnTo>
                  <a:lnTo>
                    <a:pt x="2633" y="945"/>
                  </a:lnTo>
                  <a:lnTo>
                    <a:pt x="2633" y="945"/>
                  </a:lnTo>
                  <a:lnTo>
                    <a:pt x="2626" y="928"/>
                  </a:lnTo>
                  <a:lnTo>
                    <a:pt x="2646" y="938"/>
                  </a:lnTo>
                  <a:lnTo>
                    <a:pt x="2646" y="941"/>
                  </a:lnTo>
                  <a:lnTo>
                    <a:pt x="2648" y="941"/>
                  </a:lnTo>
                  <a:lnTo>
                    <a:pt x="2674" y="938"/>
                  </a:lnTo>
                  <a:lnTo>
                    <a:pt x="2678" y="936"/>
                  </a:lnTo>
                  <a:lnTo>
                    <a:pt x="2685" y="919"/>
                  </a:lnTo>
                  <a:lnTo>
                    <a:pt x="2698" y="919"/>
                  </a:lnTo>
                  <a:lnTo>
                    <a:pt x="2702" y="919"/>
                  </a:lnTo>
                  <a:lnTo>
                    <a:pt x="2702" y="915"/>
                  </a:lnTo>
                  <a:lnTo>
                    <a:pt x="2704" y="902"/>
                  </a:lnTo>
                  <a:lnTo>
                    <a:pt x="2720" y="906"/>
                  </a:lnTo>
                  <a:lnTo>
                    <a:pt x="2724" y="908"/>
                  </a:lnTo>
                  <a:lnTo>
                    <a:pt x="2724" y="904"/>
                  </a:lnTo>
                  <a:lnTo>
                    <a:pt x="2728" y="893"/>
                  </a:lnTo>
                  <a:lnTo>
                    <a:pt x="2737" y="904"/>
                  </a:lnTo>
                  <a:lnTo>
                    <a:pt x="2742" y="906"/>
                  </a:lnTo>
                  <a:lnTo>
                    <a:pt x="2744" y="904"/>
                  </a:lnTo>
                  <a:lnTo>
                    <a:pt x="2757" y="886"/>
                  </a:lnTo>
                  <a:lnTo>
                    <a:pt x="2757" y="886"/>
                  </a:lnTo>
                  <a:lnTo>
                    <a:pt x="2757" y="884"/>
                  </a:lnTo>
                  <a:lnTo>
                    <a:pt x="2759" y="867"/>
                  </a:lnTo>
                  <a:lnTo>
                    <a:pt x="2776" y="880"/>
                  </a:lnTo>
                  <a:lnTo>
                    <a:pt x="2781" y="882"/>
                  </a:lnTo>
                  <a:lnTo>
                    <a:pt x="2783" y="880"/>
                  </a:lnTo>
                  <a:lnTo>
                    <a:pt x="2796" y="867"/>
                  </a:lnTo>
                  <a:lnTo>
                    <a:pt x="2824" y="873"/>
                  </a:lnTo>
                  <a:lnTo>
                    <a:pt x="2827" y="873"/>
                  </a:lnTo>
                  <a:lnTo>
                    <a:pt x="2829" y="873"/>
                  </a:lnTo>
                  <a:lnTo>
                    <a:pt x="2853" y="845"/>
                  </a:lnTo>
                  <a:lnTo>
                    <a:pt x="3044" y="841"/>
                  </a:lnTo>
                  <a:lnTo>
                    <a:pt x="3044" y="841"/>
                  </a:lnTo>
                  <a:lnTo>
                    <a:pt x="3047" y="841"/>
                  </a:lnTo>
                  <a:lnTo>
                    <a:pt x="3092" y="815"/>
                  </a:lnTo>
                  <a:lnTo>
                    <a:pt x="3095" y="815"/>
                  </a:lnTo>
                  <a:lnTo>
                    <a:pt x="3095" y="813"/>
                  </a:lnTo>
                  <a:lnTo>
                    <a:pt x="3101" y="778"/>
                  </a:lnTo>
                  <a:lnTo>
                    <a:pt x="3101" y="776"/>
                  </a:lnTo>
                  <a:lnTo>
                    <a:pt x="3099" y="774"/>
                  </a:lnTo>
                  <a:lnTo>
                    <a:pt x="3079" y="750"/>
                  </a:lnTo>
                  <a:lnTo>
                    <a:pt x="3077" y="748"/>
                  </a:lnTo>
                  <a:lnTo>
                    <a:pt x="3075" y="750"/>
                  </a:lnTo>
                  <a:lnTo>
                    <a:pt x="3029" y="761"/>
                  </a:lnTo>
                  <a:lnTo>
                    <a:pt x="3027" y="761"/>
                  </a:lnTo>
                  <a:lnTo>
                    <a:pt x="3025" y="763"/>
                  </a:lnTo>
                  <a:lnTo>
                    <a:pt x="3018" y="778"/>
                  </a:lnTo>
                  <a:lnTo>
                    <a:pt x="2944" y="772"/>
                  </a:lnTo>
                  <a:lnTo>
                    <a:pt x="2909" y="743"/>
                  </a:lnTo>
                  <a:lnTo>
                    <a:pt x="2907" y="741"/>
                  </a:lnTo>
                  <a:lnTo>
                    <a:pt x="2905" y="743"/>
                  </a:lnTo>
                  <a:lnTo>
                    <a:pt x="2877" y="759"/>
                  </a:lnTo>
                  <a:lnTo>
                    <a:pt x="2848" y="748"/>
                  </a:lnTo>
                  <a:lnTo>
                    <a:pt x="2846" y="746"/>
                  </a:lnTo>
                  <a:lnTo>
                    <a:pt x="2844" y="748"/>
                  </a:lnTo>
                  <a:lnTo>
                    <a:pt x="2807" y="772"/>
                  </a:lnTo>
                  <a:lnTo>
                    <a:pt x="2774" y="772"/>
                  </a:lnTo>
                  <a:lnTo>
                    <a:pt x="2772" y="772"/>
                  </a:lnTo>
                  <a:lnTo>
                    <a:pt x="2759" y="782"/>
                  </a:lnTo>
                  <a:lnTo>
                    <a:pt x="2742" y="763"/>
                  </a:lnTo>
                  <a:lnTo>
                    <a:pt x="2735" y="759"/>
                  </a:lnTo>
                  <a:lnTo>
                    <a:pt x="2735" y="765"/>
                  </a:lnTo>
                  <a:lnTo>
                    <a:pt x="2724" y="808"/>
                  </a:lnTo>
                  <a:lnTo>
                    <a:pt x="2702" y="811"/>
                  </a:lnTo>
                  <a:lnTo>
                    <a:pt x="2700" y="811"/>
                  </a:lnTo>
                  <a:lnTo>
                    <a:pt x="2700" y="813"/>
                  </a:lnTo>
                  <a:lnTo>
                    <a:pt x="2698" y="830"/>
                  </a:lnTo>
                  <a:lnTo>
                    <a:pt x="2641" y="847"/>
                  </a:lnTo>
                  <a:lnTo>
                    <a:pt x="2622" y="839"/>
                  </a:lnTo>
                  <a:lnTo>
                    <a:pt x="2619" y="837"/>
                  </a:lnTo>
                  <a:lnTo>
                    <a:pt x="2617" y="839"/>
                  </a:lnTo>
                  <a:lnTo>
                    <a:pt x="2604" y="856"/>
                  </a:lnTo>
                  <a:lnTo>
                    <a:pt x="2600" y="858"/>
                  </a:lnTo>
                  <a:lnTo>
                    <a:pt x="2617" y="876"/>
                  </a:lnTo>
                  <a:lnTo>
                    <a:pt x="2600" y="893"/>
                  </a:lnTo>
                  <a:lnTo>
                    <a:pt x="2563" y="878"/>
                  </a:lnTo>
                  <a:lnTo>
                    <a:pt x="2558" y="876"/>
                  </a:lnTo>
                  <a:lnTo>
                    <a:pt x="2556" y="880"/>
                  </a:lnTo>
                  <a:lnTo>
                    <a:pt x="2552" y="906"/>
                  </a:lnTo>
                  <a:lnTo>
                    <a:pt x="2528" y="906"/>
                  </a:lnTo>
                  <a:lnTo>
                    <a:pt x="2524" y="906"/>
                  </a:lnTo>
                  <a:lnTo>
                    <a:pt x="2524" y="910"/>
                  </a:lnTo>
                  <a:lnTo>
                    <a:pt x="2524" y="930"/>
                  </a:lnTo>
                  <a:lnTo>
                    <a:pt x="2489" y="947"/>
                  </a:lnTo>
                  <a:lnTo>
                    <a:pt x="2465" y="941"/>
                  </a:lnTo>
                  <a:lnTo>
                    <a:pt x="2463" y="938"/>
                  </a:lnTo>
                  <a:lnTo>
                    <a:pt x="2463" y="941"/>
                  </a:lnTo>
                  <a:lnTo>
                    <a:pt x="2434" y="960"/>
                  </a:lnTo>
                  <a:lnTo>
                    <a:pt x="2434" y="962"/>
                  </a:lnTo>
                  <a:lnTo>
                    <a:pt x="2434" y="964"/>
                  </a:lnTo>
                  <a:lnTo>
                    <a:pt x="2432" y="993"/>
                  </a:lnTo>
                  <a:lnTo>
                    <a:pt x="2432" y="995"/>
                  </a:lnTo>
                  <a:lnTo>
                    <a:pt x="2434" y="995"/>
                  </a:lnTo>
                  <a:lnTo>
                    <a:pt x="2458" y="1021"/>
                  </a:lnTo>
                  <a:close/>
                  <a:moveTo>
                    <a:pt x="2563" y="1203"/>
                  </a:moveTo>
                  <a:lnTo>
                    <a:pt x="2558" y="1205"/>
                  </a:lnTo>
                  <a:lnTo>
                    <a:pt x="2528" y="1211"/>
                  </a:lnTo>
                  <a:lnTo>
                    <a:pt x="2524" y="1214"/>
                  </a:lnTo>
                  <a:lnTo>
                    <a:pt x="2524" y="1216"/>
                  </a:lnTo>
                  <a:lnTo>
                    <a:pt x="2519" y="1246"/>
                  </a:lnTo>
                  <a:lnTo>
                    <a:pt x="2519" y="1248"/>
                  </a:lnTo>
                  <a:lnTo>
                    <a:pt x="2519" y="1248"/>
                  </a:lnTo>
                  <a:lnTo>
                    <a:pt x="2539" y="1283"/>
                  </a:lnTo>
                  <a:lnTo>
                    <a:pt x="2541" y="1285"/>
                  </a:lnTo>
                  <a:lnTo>
                    <a:pt x="2543" y="1283"/>
                  </a:lnTo>
                  <a:lnTo>
                    <a:pt x="2569" y="1281"/>
                  </a:lnTo>
                  <a:lnTo>
                    <a:pt x="2572" y="1281"/>
                  </a:lnTo>
                  <a:lnTo>
                    <a:pt x="2572" y="1276"/>
                  </a:lnTo>
                  <a:lnTo>
                    <a:pt x="2574" y="1244"/>
                  </a:lnTo>
                  <a:lnTo>
                    <a:pt x="2574" y="1242"/>
                  </a:lnTo>
                  <a:lnTo>
                    <a:pt x="2574" y="1242"/>
                  </a:lnTo>
                  <a:lnTo>
                    <a:pt x="2565" y="1207"/>
                  </a:lnTo>
                  <a:lnTo>
                    <a:pt x="2563" y="1203"/>
                  </a:lnTo>
                  <a:close/>
                  <a:moveTo>
                    <a:pt x="196" y="2167"/>
                  </a:moveTo>
                  <a:lnTo>
                    <a:pt x="139" y="2093"/>
                  </a:lnTo>
                  <a:lnTo>
                    <a:pt x="172" y="2000"/>
                  </a:lnTo>
                  <a:lnTo>
                    <a:pt x="144" y="1979"/>
                  </a:lnTo>
                  <a:lnTo>
                    <a:pt x="124" y="1992"/>
                  </a:lnTo>
                  <a:lnTo>
                    <a:pt x="41" y="1937"/>
                  </a:lnTo>
                  <a:lnTo>
                    <a:pt x="28" y="1957"/>
                  </a:lnTo>
                  <a:lnTo>
                    <a:pt x="30" y="2022"/>
                  </a:lnTo>
                  <a:lnTo>
                    <a:pt x="0" y="2054"/>
                  </a:lnTo>
                  <a:lnTo>
                    <a:pt x="9" y="2106"/>
                  </a:lnTo>
                  <a:lnTo>
                    <a:pt x="63" y="2102"/>
                  </a:lnTo>
                  <a:lnTo>
                    <a:pt x="122" y="2176"/>
                  </a:lnTo>
                  <a:lnTo>
                    <a:pt x="166" y="2202"/>
                  </a:lnTo>
                  <a:lnTo>
                    <a:pt x="168" y="2197"/>
                  </a:lnTo>
                  <a:lnTo>
                    <a:pt x="196" y="21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61">
              <a:extLst>
                <a:ext uri="{FF2B5EF4-FFF2-40B4-BE49-F238E27FC236}">
                  <a16:creationId xmlns:a16="http://schemas.microsoft.com/office/drawing/2014/main" xmlns="" id="{D42976BD-CC9A-4748-A5B1-5797482B9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" y="1069"/>
              <a:ext cx="30" cy="28"/>
            </a:xfrm>
            <a:custGeom>
              <a:avLst/>
              <a:gdLst>
                <a:gd name="T0" fmla="*/ 4 w 30"/>
                <a:gd name="T1" fmla="*/ 4 h 28"/>
                <a:gd name="T2" fmla="*/ 0 w 30"/>
                <a:gd name="T3" fmla="*/ 20 h 28"/>
                <a:gd name="T4" fmla="*/ 13 w 30"/>
                <a:gd name="T5" fmla="*/ 28 h 28"/>
                <a:gd name="T6" fmla="*/ 30 w 30"/>
                <a:gd name="T7" fmla="*/ 20 h 28"/>
                <a:gd name="T8" fmla="*/ 24 w 30"/>
                <a:gd name="T9" fmla="*/ 0 h 28"/>
                <a:gd name="T10" fmla="*/ 4 w 30"/>
                <a:gd name="T11" fmla="*/ 4 h 28"/>
                <a:gd name="T12" fmla="*/ 4 w 30"/>
                <a:gd name="T13" fmla="*/ 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8">
                  <a:moveTo>
                    <a:pt x="4" y="4"/>
                  </a:moveTo>
                  <a:lnTo>
                    <a:pt x="0" y="20"/>
                  </a:lnTo>
                  <a:lnTo>
                    <a:pt x="13" y="28"/>
                  </a:lnTo>
                  <a:lnTo>
                    <a:pt x="30" y="20"/>
                  </a:lnTo>
                  <a:lnTo>
                    <a:pt x="24" y="0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62">
              <a:extLst>
                <a:ext uri="{FF2B5EF4-FFF2-40B4-BE49-F238E27FC236}">
                  <a16:creationId xmlns:a16="http://schemas.microsoft.com/office/drawing/2014/main" xmlns="" id="{DA56C2DD-B05A-45BE-9C87-626B7ECA57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9" y="1479"/>
              <a:ext cx="42" cy="47"/>
            </a:xfrm>
            <a:custGeom>
              <a:avLst/>
              <a:gdLst>
                <a:gd name="T0" fmla="*/ 0 w 42"/>
                <a:gd name="T1" fmla="*/ 26 h 47"/>
                <a:gd name="T2" fmla="*/ 26 w 42"/>
                <a:gd name="T3" fmla="*/ 47 h 47"/>
                <a:gd name="T4" fmla="*/ 37 w 42"/>
                <a:gd name="T5" fmla="*/ 28 h 47"/>
                <a:gd name="T6" fmla="*/ 42 w 42"/>
                <a:gd name="T7" fmla="*/ 13 h 47"/>
                <a:gd name="T8" fmla="*/ 26 w 42"/>
                <a:gd name="T9" fmla="*/ 4 h 47"/>
                <a:gd name="T10" fmla="*/ 9 w 42"/>
                <a:gd name="T11" fmla="*/ 0 h 47"/>
                <a:gd name="T12" fmla="*/ 0 w 42"/>
                <a:gd name="T13" fmla="*/ 26 h 47"/>
                <a:gd name="T14" fmla="*/ 0 w 42"/>
                <a:gd name="T15" fmla="*/ 2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47">
                  <a:moveTo>
                    <a:pt x="0" y="26"/>
                  </a:moveTo>
                  <a:lnTo>
                    <a:pt x="26" y="47"/>
                  </a:lnTo>
                  <a:lnTo>
                    <a:pt x="37" y="28"/>
                  </a:lnTo>
                  <a:lnTo>
                    <a:pt x="42" y="13"/>
                  </a:lnTo>
                  <a:lnTo>
                    <a:pt x="26" y="4"/>
                  </a:lnTo>
                  <a:lnTo>
                    <a:pt x="9" y="0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63">
              <a:extLst>
                <a:ext uri="{FF2B5EF4-FFF2-40B4-BE49-F238E27FC236}">
                  <a16:creationId xmlns:a16="http://schemas.microsoft.com/office/drawing/2014/main" xmlns="" id="{01EF637A-1ADB-4C72-8F81-66F50E3696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7" y="1541"/>
              <a:ext cx="39" cy="35"/>
            </a:xfrm>
            <a:custGeom>
              <a:avLst/>
              <a:gdLst>
                <a:gd name="T0" fmla="*/ 0 w 39"/>
                <a:gd name="T1" fmla="*/ 24 h 35"/>
                <a:gd name="T2" fmla="*/ 9 w 39"/>
                <a:gd name="T3" fmla="*/ 35 h 35"/>
                <a:gd name="T4" fmla="*/ 39 w 39"/>
                <a:gd name="T5" fmla="*/ 18 h 35"/>
                <a:gd name="T6" fmla="*/ 33 w 39"/>
                <a:gd name="T7" fmla="*/ 0 h 35"/>
                <a:gd name="T8" fmla="*/ 13 w 39"/>
                <a:gd name="T9" fmla="*/ 0 h 35"/>
                <a:gd name="T10" fmla="*/ 2 w 39"/>
                <a:gd name="T11" fmla="*/ 16 h 35"/>
                <a:gd name="T12" fmla="*/ 0 w 39"/>
                <a:gd name="T13" fmla="*/ 24 h 35"/>
                <a:gd name="T14" fmla="*/ 0 w 39"/>
                <a:gd name="T15" fmla="*/ 24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5">
                  <a:moveTo>
                    <a:pt x="0" y="24"/>
                  </a:moveTo>
                  <a:lnTo>
                    <a:pt x="9" y="35"/>
                  </a:lnTo>
                  <a:lnTo>
                    <a:pt x="39" y="18"/>
                  </a:lnTo>
                  <a:lnTo>
                    <a:pt x="33" y="0"/>
                  </a:lnTo>
                  <a:lnTo>
                    <a:pt x="13" y="0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9" name="Freeform 164">
              <a:extLst>
                <a:ext uri="{FF2B5EF4-FFF2-40B4-BE49-F238E27FC236}">
                  <a16:creationId xmlns:a16="http://schemas.microsoft.com/office/drawing/2014/main" xmlns="" id="{C6CA93C3-8C32-48BD-A6FD-A55DC7896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4" y="1297"/>
              <a:ext cx="46" cy="32"/>
            </a:xfrm>
            <a:custGeom>
              <a:avLst/>
              <a:gdLst>
                <a:gd name="T0" fmla="*/ 0 w 46"/>
                <a:gd name="T1" fmla="*/ 0 h 32"/>
                <a:gd name="T2" fmla="*/ 44 w 46"/>
                <a:gd name="T3" fmla="*/ 4 h 32"/>
                <a:gd name="T4" fmla="*/ 46 w 46"/>
                <a:gd name="T5" fmla="*/ 28 h 32"/>
                <a:gd name="T6" fmla="*/ 29 w 46"/>
                <a:gd name="T7" fmla="*/ 32 h 32"/>
                <a:gd name="T8" fmla="*/ 9 w 46"/>
                <a:gd name="T9" fmla="*/ 19 h 32"/>
                <a:gd name="T10" fmla="*/ 0 w 46"/>
                <a:gd name="T11" fmla="*/ 0 h 32"/>
                <a:gd name="T12" fmla="*/ 0 w 46"/>
                <a:gd name="T1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32">
                  <a:moveTo>
                    <a:pt x="0" y="0"/>
                  </a:moveTo>
                  <a:lnTo>
                    <a:pt x="44" y="4"/>
                  </a:lnTo>
                  <a:lnTo>
                    <a:pt x="46" y="28"/>
                  </a:lnTo>
                  <a:lnTo>
                    <a:pt x="29" y="32"/>
                  </a:lnTo>
                  <a:lnTo>
                    <a:pt x="9" y="1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165">
              <a:extLst>
                <a:ext uri="{FF2B5EF4-FFF2-40B4-BE49-F238E27FC236}">
                  <a16:creationId xmlns:a16="http://schemas.microsoft.com/office/drawing/2014/main" xmlns="" id="{FC4326DA-6770-4B5D-818C-12A203B824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" y="1212"/>
              <a:ext cx="30" cy="48"/>
            </a:xfrm>
            <a:custGeom>
              <a:avLst/>
              <a:gdLst>
                <a:gd name="T0" fmla="*/ 0 w 30"/>
                <a:gd name="T1" fmla="*/ 11 h 48"/>
                <a:gd name="T2" fmla="*/ 8 w 30"/>
                <a:gd name="T3" fmla="*/ 48 h 48"/>
                <a:gd name="T4" fmla="*/ 26 w 30"/>
                <a:gd name="T5" fmla="*/ 48 h 48"/>
                <a:gd name="T6" fmla="*/ 30 w 30"/>
                <a:gd name="T7" fmla="*/ 15 h 48"/>
                <a:gd name="T8" fmla="*/ 11 w 30"/>
                <a:gd name="T9" fmla="*/ 0 h 48"/>
                <a:gd name="T10" fmla="*/ 0 w 30"/>
                <a:gd name="T11" fmla="*/ 11 h 48"/>
                <a:gd name="T12" fmla="*/ 0 w 30"/>
                <a:gd name="T13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48">
                  <a:moveTo>
                    <a:pt x="0" y="11"/>
                  </a:moveTo>
                  <a:lnTo>
                    <a:pt x="8" y="48"/>
                  </a:lnTo>
                  <a:lnTo>
                    <a:pt x="26" y="48"/>
                  </a:lnTo>
                  <a:lnTo>
                    <a:pt x="30" y="15"/>
                  </a:lnTo>
                  <a:lnTo>
                    <a:pt x="11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1" name="Freeform 166">
              <a:extLst>
                <a:ext uri="{FF2B5EF4-FFF2-40B4-BE49-F238E27FC236}">
                  <a16:creationId xmlns:a16="http://schemas.microsoft.com/office/drawing/2014/main" xmlns="" id="{09DE101A-9BD8-4B69-8996-E2CB5BBE4E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" y="1221"/>
              <a:ext cx="87" cy="71"/>
            </a:xfrm>
            <a:custGeom>
              <a:avLst/>
              <a:gdLst>
                <a:gd name="T0" fmla="*/ 0 w 87"/>
                <a:gd name="T1" fmla="*/ 32 h 71"/>
                <a:gd name="T2" fmla="*/ 0 w 87"/>
                <a:gd name="T3" fmla="*/ 71 h 71"/>
                <a:gd name="T4" fmla="*/ 46 w 87"/>
                <a:gd name="T5" fmla="*/ 63 h 71"/>
                <a:gd name="T6" fmla="*/ 87 w 87"/>
                <a:gd name="T7" fmla="*/ 41 h 71"/>
                <a:gd name="T8" fmla="*/ 74 w 87"/>
                <a:gd name="T9" fmla="*/ 8 h 71"/>
                <a:gd name="T10" fmla="*/ 46 w 87"/>
                <a:gd name="T11" fmla="*/ 4 h 71"/>
                <a:gd name="T12" fmla="*/ 24 w 87"/>
                <a:gd name="T13" fmla="*/ 0 h 71"/>
                <a:gd name="T14" fmla="*/ 9 w 87"/>
                <a:gd name="T15" fmla="*/ 24 h 71"/>
                <a:gd name="T16" fmla="*/ 0 w 87"/>
                <a:gd name="T17" fmla="*/ 32 h 71"/>
                <a:gd name="T18" fmla="*/ 0 w 87"/>
                <a:gd name="T19" fmla="*/ 3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71">
                  <a:moveTo>
                    <a:pt x="0" y="32"/>
                  </a:moveTo>
                  <a:lnTo>
                    <a:pt x="0" y="71"/>
                  </a:lnTo>
                  <a:lnTo>
                    <a:pt x="46" y="63"/>
                  </a:lnTo>
                  <a:lnTo>
                    <a:pt x="87" y="41"/>
                  </a:lnTo>
                  <a:lnTo>
                    <a:pt x="74" y="8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9" y="24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2" name="Freeform 167">
              <a:extLst>
                <a:ext uri="{FF2B5EF4-FFF2-40B4-BE49-F238E27FC236}">
                  <a16:creationId xmlns:a16="http://schemas.microsoft.com/office/drawing/2014/main" xmlns="" id="{0B193ADC-458C-4438-98D3-469372820C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" y="980"/>
              <a:ext cx="124" cy="80"/>
            </a:xfrm>
            <a:custGeom>
              <a:avLst/>
              <a:gdLst>
                <a:gd name="T0" fmla="*/ 0 w 124"/>
                <a:gd name="T1" fmla="*/ 50 h 80"/>
                <a:gd name="T2" fmla="*/ 13 w 124"/>
                <a:gd name="T3" fmla="*/ 78 h 80"/>
                <a:gd name="T4" fmla="*/ 100 w 124"/>
                <a:gd name="T5" fmla="*/ 80 h 80"/>
                <a:gd name="T6" fmla="*/ 124 w 124"/>
                <a:gd name="T7" fmla="*/ 35 h 80"/>
                <a:gd name="T8" fmla="*/ 109 w 124"/>
                <a:gd name="T9" fmla="*/ 0 h 80"/>
                <a:gd name="T10" fmla="*/ 90 w 124"/>
                <a:gd name="T11" fmla="*/ 20 h 80"/>
                <a:gd name="T12" fmla="*/ 55 w 124"/>
                <a:gd name="T13" fmla="*/ 15 h 80"/>
                <a:gd name="T14" fmla="*/ 46 w 124"/>
                <a:gd name="T15" fmla="*/ 33 h 80"/>
                <a:gd name="T16" fmla="*/ 26 w 124"/>
                <a:gd name="T17" fmla="*/ 33 h 80"/>
                <a:gd name="T18" fmla="*/ 24 w 124"/>
                <a:gd name="T19" fmla="*/ 52 h 80"/>
                <a:gd name="T20" fmla="*/ 0 w 124"/>
                <a:gd name="T21" fmla="*/ 50 h 80"/>
                <a:gd name="T22" fmla="*/ 0 w 124"/>
                <a:gd name="T23" fmla="*/ 5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4" h="80">
                  <a:moveTo>
                    <a:pt x="0" y="50"/>
                  </a:moveTo>
                  <a:lnTo>
                    <a:pt x="13" y="78"/>
                  </a:lnTo>
                  <a:lnTo>
                    <a:pt x="100" y="80"/>
                  </a:lnTo>
                  <a:lnTo>
                    <a:pt x="124" y="35"/>
                  </a:lnTo>
                  <a:lnTo>
                    <a:pt x="109" y="0"/>
                  </a:lnTo>
                  <a:lnTo>
                    <a:pt x="90" y="20"/>
                  </a:lnTo>
                  <a:lnTo>
                    <a:pt x="55" y="15"/>
                  </a:lnTo>
                  <a:lnTo>
                    <a:pt x="46" y="33"/>
                  </a:lnTo>
                  <a:lnTo>
                    <a:pt x="26" y="33"/>
                  </a:lnTo>
                  <a:lnTo>
                    <a:pt x="24" y="52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3" name="Freeform 168">
              <a:extLst>
                <a:ext uri="{FF2B5EF4-FFF2-40B4-BE49-F238E27FC236}">
                  <a16:creationId xmlns:a16="http://schemas.microsoft.com/office/drawing/2014/main" xmlns="" id="{7CA4A1EB-6CD9-4BE6-A7EC-CC0547607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" y="887"/>
              <a:ext cx="24" cy="26"/>
            </a:xfrm>
            <a:custGeom>
              <a:avLst/>
              <a:gdLst>
                <a:gd name="T0" fmla="*/ 7 w 24"/>
                <a:gd name="T1" fmla="*/ 0 h 26"/>
                <a:gd name="T2" fmla="*/ 0 w 24"/>
                <a:gd name="T3" fmla="*/ 22 h 26"/>
                <a:gd name="T4" fmla="*/ 17 w 24"/>
                <a:gd name="T5" fmla="*/ 26 h 26"/>
                <a:gd name="T6" fmla="*/ 24 w 24"/>
                <a:gd name="T7" fmla="*/ 7 h 26"/>
                <a:gd name="T8" fmla="*/ 7 w 24"/>
                <a:gd name="T9" fmla="*/ 0 h 26"/>
                <a:gd name="T10" fmla="*/ 7 w 24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7" y="0"/>
                  </a:moveTo>
                  <a:lnTo>
                    <a:pt x="0" y="22"/>
                  </a:lnTo>
                  <a:lnTo>
                    <a:pt x="17" y="26"/>
                  </a:lnTo>
                  <a:lnTo>
                    <a:pt x="24" y="7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4" name="Freeform 169">
              <a:extLst>
                <a:ext uri="{FF2B5EF4-FFF2-40B4-BE49-F238E27FC236}">
                  <a16:creationId xmlns:a16="http://schemas.microsoft.com/office/drawing/2014/main" xmlns="" id="{5A0AEA5E-14CE-4710-A5B5-22E92BF65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" y="1043"/>
              <a:ext cx="183" cy="171"/>
            </a:xfrm>
            <a:custGeom>
              <a:avLst/>
              <a:gdLst>
                <a:gd name="T0" fmla="*/ 127 w 183"/>
                <a:gd name="T1" fmla="*/ 30 h 171"/>
                <a:gd name="T2" fmla="*/ 146 w 183"/>
                <a:gd name="T3" fmla="*/ 61 h 171"/>
                <a:gd name="T4" fmla="*/ 183 w 183"/>
                <a:gd name="T5" fmla="*/ 67 h 171"/>
                <a:gd name="T6" fmla="*/ 183 w 183"/>
                <a:gd name="T7" fmla="*/ 24 h 171"/>
                <a:gd name="T8" fmla="*/ 173 w 183"/>
                <a:gd name="T9" fmla="*/ 4 h 171"/>
                <a:gd name="T10" fmla="*/ 127 w 183"/>
                <a:gd name="T11" fmla="*/ 0 h 171"/>
                <a:gd name="T12" fmla="*/ 105 w 183"/>
                <a:gd name="T13" fmla="*/ 17 h 171"/>
                <a:gd name="T14" fmla="*/ 70 w 183"/>
                <a:gd name="T15" fmla="*/ 11 h 171"/>
                <a:gd name="T16" fmla="*/ 66 w 183"/>
                <a:gd name="T17" fmla="*/ 35 h 171"/>
                <a:gd name="T18" fmla="*/ 88 w 183"/>
                <a:gd name="T19" fmla="*/ 56 h 171"/>
                <a:gd name="T20" fmla="*/ 77 w 183"/>
                <a:gd name="T21" fmla="*/ 69 h 171"/>
                <a:gd name="T22" fmla="*/ 42 w 183"/>
                <a:gd name="T23" fmla="*/ 43 h 171"/>
                <a:gd name="T24" fmla="*/ 3 w 183"/>
                <a:gd name="T25" fmla="*/ 46 h 171"/>
                <a:gd name="T26" fmla="*/ 0 w 183"/>
                <a:gd name="T27" fmla="*/ 78 h 171"/>
                <a:gd name="T28" fmla="*/ 3 w 183"/>
                <a:gd name="T29" fmla="*/ 113 h 171"/>
                <a:gd name="T30" fmla="*/ 22 w 183"/>
                <a:gd name="T31" fmla="*/ 134 h 171"/>
                <a:gd name="T32" fmla="*/ 29 w 183"/>
                <a:gd name="T33" fmla="*/ 160 h 171"/>
                <a:gd name="T34" fmla="*/ 66 w 183"/>
                <a:gd name="T35" fmla="*/ 171 h 171"/>
                <a:gd name="T36" fmla="*/ 101 w 183"/>
                <a:gd name="T37" fmla="*/ 169 h 171"/>
                <a:gd name="T38" fmla="*/ 96 w 183"/>
                <a:gd name="T39" fmla="*/ 132 h 171"/>
                <a:gd name="T40" fmla="*/ 122 w 183"/>
                <a:gd name="T41" fmla="*/ 134 h 171"/>
                <a:gd name="T42" fmla="*/ 142 w 183"/>
                <a:gd name="T43" fmla="*/ 104 h 171"/>
                <a:gd name="T44" fmla="*/ 164 w 183"/>
                <a:gd name="T45" fmla="*/ 108 h 171"/>
                <a:gd name="T46" fmla="*/ 179 w 183"/>
                <a:gd name="T47" fmla="*/ 91 h 171"/>
                <a:gd name="T48" fmla="*/ 164 w 183"/>
                <a:gd name="T49" fmla="*/ 76 h 171"/>
                <a:gd name="T50" fmla="*/ 131 w 183"/>
                <a:gd name="T51" fmla="*/ 67 h 171"/>
                <a:gd name="T52" fmla="*/ 103 w 183"/>
                <a:gd name="T53" fmla="*/ 35 h 171"/>
                <a:gd name="T54" fmla="*/ 127 w 183"/>
                <a:gd name="T55" fmla="*/ 30 h 171"/>
                <a:gd name="T56" fmla="*/ 127 w 183"/>
                <a:gd name="T57" fmla="*/ 3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3" h="171">
                  <a:moveTo>
                    <a:pt x="127" y="30"/>
                  </a:moveTo>
                  <a:lnTo>
                    <a:pt x="146" y="61"/>
                  </a:lnTo>
                  <a:lnTo>
                    <a:pt x="183" y="67"/>
                  </a:lnTo>
                  <a:lnTo>
                    <a:pt x="183" y="24"/>
                  </a:lnTo>
                  <a:lnTo>
                    <a:pt x="173" y="4"/>
                  </a:lnTo>
                  <a:lnTo>
                    <a:pt x="127" y="0"/>
                  </a:lnTo>
                  <a:lnTo>
                    <a:pt x="105" y="17"/>
                  </a:lnTo>
                  <a:lnTo>
                    <a:pt x="70" y="11"/>
                  </a:lnTo>
                  <a:lnTo>
                    <a:pt x="66" y="35"/>
                  </a:lnTo>
                  <a:lnTo>
                    <a:pt x="88" y="56"/>
                  </a:lnTo>
                  <a:lnTo>
                    <a:pt x="77" y="69"/>
                  </a:lnTo>
                  <a:lnTo>
                    <a:pt x="42" y="43"/>
                  </a:lnTo>
                  <a:lnTo>
                    <a:pt x="3" y="46"/>
                  </a:lnTo>
                  <a:lnTo>
                    <a:pt x="0" y="78"/>
                  </a:lnTo>
                  <a:lnTo>
                    <a:pt x="3" y="113"/>
                  </a:lnTo>
                  <a:lnTo>
                    <a:pt x="22" y="134"/>
                  </a:lnTo>
                  <a:lnTo>
                    <a:pt x="29" y="160"/>
                  </a:lnTo>
                  <a:lnTo>
                    <a:pt x="66" y="171"/>
                  </a:lnTo>
                  <a:lnTo>
                    <a:pt x="101" y="169"/>
                  </a:lnTo>
                  <a:lnTo>
                    <a:pt x="96" y="132"/>
                  </a:lnTo>
                  <a:lnTo>
                    <a:pt x="122" y="134"/>
                  </a:lnTo>
                  <a:lnTo>
                    <a:pt x="142" y="104"/>
                  </a:lnTo>
                  <a:lnTo>
                    <a:pt x="164" y="108"/>
                  </a:lnTo>
                  <a:lnTo>
                    <a:pt x="179" y="91"/>
                  </a:lnTo>
                  <a:lnTo>
                    <a:pt x="164" y="76"/>
                  </a:lnTo>
                  <a:lnTo>
                    <a:pt x="131" y="67"/>
                  </a:lnTo>
                  <a:lnTo>
                    <a:pt x="103" y="35"/>
                  </a:lnTo>
                  <a:lnTo>
                    <a:pt x="127" y="30"/>
                  </a:lnTo>
                  <a:lnTo>
                    <a:pt x="127" y="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5" name="Freeform 170">
              <a:extLst>
                <a:ext uri="{FF2B5EF4-FFF2-40B4-BE49-F238E27FC236}">
                  <a16:creationId xmlns:a16="http://schemas.microsoft.com/office/drawing/2014/main" xmlns="" id="{08DDC510-FAC6-4389-816C-C924DB9C82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6" y="1151"/>
              <a:ext cx="43" cy="55"/>
            </a:xfrm>
            <a:custGeom>
              <a:avLst/>
              <a:gdLst>
                <a:gd name="T0" fmla="*/ 0 w 43"/>
                <a:gd name="T1" fmla="*/ 0 h 55"/>
                <a:gd name="T2" fmla="*/ 6 w 43"/>
                <a:gd name="T3" fmla="*/ 26 h 55"/>
                <a:gd name="T4" fmla="*/ 28 w 43"/>
                <a:gd name="T5" fmla="*/ 55 h 55"/>
                <a:gd name="T6" fmla="*/ 43 w 43"/>
                <a:gd name="T7" fmla="*/ 48 h 55"/>
                <a:gd name="T8" fmla="*/ 26 w 43"/>
                <a:gd name="T9" fmla="*/ 16 h 55"/>
                <a:gd name="T10" fmla="*/ 0 w 43"/>
                <a:gd name="T11" fmla="*/ 0 h 55"/>
                <a:gd name="T12" fmla="*/ 0 w 43"/>
                <a:gd name="T1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5">
                  <a:moveTo>
                    <a:pt x="0" y="0"/>
                  </a:moveTo>
                  <a:lnTo>
                    <a:pt x="6" y="26"/>
                  </a:lnTo>
                  <a:lnTo>
                    <a:pt x="28" y="55"/>
                  </a:lnTo>
                  <a:lnTo>
                    <a:pt x="43" y="48"/>
                  </a:lnTo>
                  <a:lnTo>
                    <a:pt x="26" y="1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6" name="Freeform 171">
              <a:extLst>
                <a:ext uri="{FF2B5EF4-FFF2-40B4-BE49-F238E27FC236}">
                  <a16:creationId xmlns:a16="http://schemas.microsoft.com/office/drawing/2014/main" xmlns="" id="{716BB3F2-5719-4051-BA47-78A85CFB2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4399" y="1095"/>
              <a:ext cx="1774" cy="1948"/>
            </a:xfrm>
            <a:custGeom>
              <a:avLst/>
              <a:gdLst>
                <a:gd name="T0" fmla="*/ 1445 w 1774"/>
                <a:gd name="T1" fmla="*/ 11 h 1948"/>
                <a:gd name="T2" fmla="*/ 1255 w 1774"/>
                <a:gd name="T3" fmla="*/ 154 h 1948"/>
                <a:gd name="T4" fmla="*/ 1153 w 1774"/>
                <a:gd name="T5" fmla="*/ 165 h 1948"/>
                <a:gd name="T6" fmla="*/ 1066 w 1774"/>
                <a:gd name="T7" fmla="*/ 264 h 1948"/>
                <a:gd name="T8" fmla="*/ 1048 w 1774"/>
                <a:gd name="T9" fmla="*/ 178 h 1948"/>
                <a:gd name="T10" fmla="*/ 900 w 1774"/>
                <a:gd name="T11" fmla="*/ 316 h 1948"/>
                <a:gd name="T12" fmla="*/ 898 w 1774"/>
                <a:gd name="T13" fmla="*/ 397 h 1948"/>
                <a:gd name="T14" fmla="*/ 739 w 1774"/>
                <a:gd name="T15" fmla="*/ 453 h 1948"/>
                <a:gd name="T16" fmla="*/ 580 w 1774"/>
                <a:gd name="T17" fmla="*/ 384 h 1948"/>
                <a:gd name="T18" fmla="*/ 331 w 1774"/>
                <a:gd name="T19" fmla="*/ 492 h 1948"/>
                <a:gd name="T20" fmla="*/ 161 w 1774"/>
                <a:gd name="T21" fmla="*/ 505 h 1948"/>
                <a:gd name="T22" fmla="*/ 78 w 1774"/>
                <a:gd name="T23" fmla="*/ 514 h 1948"/>
                <a:gd name="T24" fmla="*/ 148 w 1774"/>
                <a:gd name="T25" fmla="*/ 637 h 1948"/>
                <a:gd name="T26" fmla="*/ 177 w 1774"/>
                <a:gd name="T27" fmla="*/ 715 h 1948"/>
                <a:gd name="T28" fmla="*/ 113 w 1774"/>
                <a:gd name="T29" fmla="*/ 789 h 1948"/>
                <a:gd name="T30" fmla="*/ 61 w 1774"/>
                <a:gd name="T31" fmla="*/ 854 h 1948"/>
                <a:gd name="T32" fmla="*/ 35 w 1774"/>
                <a:gd name="T33" fmla="*/ 953 h 1948"/>
                <a:gd name="T34" fmla="*/ 48 w 1774"/>
                <a:gd name="T35" fmla="*/ 1107 h 1948"/>
                <a:gd name="T36" fmla="*/ 28 w 1774"/>
                <a:gd name="T37" fmla="*/ 1201 h 1948"/>
                <a:gd name="T38" fmla="*/ 70 w 1774"/>
                <a:gd name="T39" fmla="*/ 1266 h 1948"/>
                <a:gd name="T40" fmla="*/ 59 w 1774"/>
                <a:gd name="T41" fmla="*/ 1296 h 1948"/>
                <a:gd name="T42" fmla="*/ 78 w 1774"/>
                <a:gd name="T43" fmla="*/ 1363 h 1948"/>
                <a:gd name="T44" fmla="*/ 142 w 1774"/>
                <a:gd name="T45" fmla="*/ 1383 h 1948"/>
                <a:gd name="T46" fmla="*/ 161 w 1774"/>
                <a:gd name="T47" fmla="*/ 1415 h 1948"/>
                <a:gd name="T48" fmla="*/ 185 w 1774"/>
                <a:gd name="T49" fmla="*/ 1439 h 1948"/>
                <a:gd name="T50" fmla="*/ 207 w 1774"/>
                <a:gd name="T51" fmla="*/ 1541 h 1948"/>
                <a:gd name="T52" fmla="*/ 242 w 1774"/>
                <a:gd name="T53" fmla="*/ 1651 h 1948"/>
                <a:gd name="T54" fmla="*/ 246 w 1774"/>
                <a:gd name="T55" fmla="*/ 1818 h 1948"/>
                <a:gd name="T56" fmla="*/ 357 w 1774"/>
                <a:gd name="T57" fmla="*/ 1822 h 1948"/>
                <a:gd name="T58" fmla="*/ 436 w 1774"/>
                <a:gd name="T59" fmla="*/ 1779 h 1948"/>
                <a:gd name="T60" fmla="*/ 527 w 1774"/>
                <a:gd name="T61" fmla="*/ 1660 h 1948"/>
                <a:gd name="T62" fmla="*/ 612 w 1774"/>
                <a:gd name="T63" fmla="*/ 1734 h 1948"/>
                <a:gd name="T64" fmla="*/ 682 w 1774"/>
                <a:gd name="T65" fmla="*/ 1731 h 1948"/>
                <a:gd name="T66" fmla="*/ 826 w 1774"/>
                <a:gd name="T67" fmla="*/ 1922 h 1948"/>
                <a:gd name="T68" fmla="*/ 898 w 1774"/>
                <a:gd name="T69" fmla="*/ 1933 h 1948"/>
                <a:gd name="T70" fmla="*/ 963 w 1774"/>
                <a:gd name="T71" fmla="*/ 1918 h 1948"/>
                <a:gd name="T72" fmla="*/ 1020 w 1774"/>
                <a:gd name="T73" fmla="*/ 1920 h 1948"/>
                <a:gd name="T74" fmla="*/ 1146 w 1774"/>
                <a:gd name="T75" fmla="*/ 1939 h 1948"/>
                <a:gd name="T76" fmla="*/ 1297 w 1774"/>
                <a:gd name="T77" fmla="*/ 1892 h 1948"/>
                <a:gd name="T78" fmla="*/ 1349 w 1774"/>
                <a:gd name="T79" fmla="*/ 1781 h 1948"/>
                <a:gd name="T80" fmla="*/ 1316 w 1774"/>
                <a:gd name="T81" fmla="*/ 1699 h 1948"/>
                <a:gd name="T82" fmla="*/ 1292 w 1774"/>
                <a:gd name="T83" fmla="*/ 1617 h 1948"/>
                <a:gd name="T84" fmla="*/ 1316 w 1774"/>
                <a:gd name="T85" fmla="*/ 1487 h 1948"/>
                <a:gd name="T86" fmla="*/ 1462 w 1774"/>
                <a:gd name="T87" fmla="*/ 1409 h 1948"/>
                <a:gd name="T88" fmla="*/ 1499 w 1774"/>
                <a:gd name="T89" fmla="*/ 1328 h 1948"/>
                <a:gd name="T90" fmla="*/ 1469 w 1774"/>
                <a:gd name="T91" fmla="*/ 1153 h 1948"/>
                <a:gd name="T92" fmla="*/ 1456 w 1774"/>
                <a:gd name="T93" fmla="*/ 1042 h 1948"/>
                <a:gd name="T94" fmla="*/ 1574 w 1774"/>
                <a:gd name="T95" fmla="*/ 1031 h 1948"/>
                <a:gd name="T96" fmla="*/ 1550 w 1774"/>
                <a:gd name="T97" fmla="*/ 832 h 1948"/>
                <a:gd name="T98" fmla="*/ 1613 w 1774"/>
                <a:gd name="T99" fmla="*/ 754 h 1948"/>
                <a:gd name="T100" fmla="*/ 1643 w 1774"/>
                <a:gd name="T101" fmla="*/ 665 h 1948"/>
                <a:gd name="T102" fmla="*/ 1691 w 1774"/>
                <a:gd name="T103" fmla="*/ 555 h 1948"/>
                <a:gd name="T104" fmla="*/ 1669 w 1774"/>
                <a:gd name="T105" fmla="*/ 492 h 1948"/>
                <a:gd name="T106" fmla="*/ 1669 w 1774"/>
                <a:gd name="T107" fmla="*/ 440 h 1948"/>
                <a:gd name="T108" fmla="*/ 1774 w 1774"/>
                <a:gd name="T109" fmla="*/ 347 h 1948"/>
                <a:gd name="T110" fmla="*/ 1654 w 1774"/>
                <a:gd name="T111" fmla="*/ 254 h 1948"/>
                <a:gd name="T112" fmla="*/ 1635 w 1774"/>
                <a:gd name="T113" fmla="*/ 202 h 1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774" h="1948">
                  <a:moveTo>
                    <a:pt x="1611" y="0"/>
                  </a:moveTo>
                  <a:lnTo>
                    <a:pt x="1600" y="24"/>
                  </a:lnTo>
                  <a:lnTo>
                    <a:pt x="1536" y="59"/>
                  </a:lnTo>
                  <a:lnTo>
                    <a:pt x="1491" y="15"/>
                  </a:lnTo>
                  <a:lnTo>
                    <a:pt x="1445" y="11"/>
                  </a:lnTo>
                  <a:lnTo>
                    <a:pt x="1382" y="52"/>
                  </a:lnTo>
                  <a:lnTo>
                    <a:pt x="1336" y="106"/>
                  </a:lnTo>
                  <a:lnTo>
                    <a:pt x="1321" y="163"/>
                  </a:lnTo>
                  <a:lnTo>
                    <a:pt x="1290" y="171"/>
                  </a:lnTo>
                  <a:lnTo>
                    <a:pt x="1255" y="154"/>
                  </a:lnTo>
                  <a:lnTo>
                    <a:pt x="1218" y="156"/>
                  </a:lnTo>
                  <a:lnTo>
                    <a:pt x="1201" y="180"/>
                  </a:lnTo>
                  <a:lnTo>
                    <a:pt x="1186" y="167"/>
                  </a:lnTo>
                  <a:lnTo>
                    <a:pt x="1170" y="182"/>
                  </a:lnTo>
                  <a:lnTo>
                    <a:pt x="1153" y="165"/>
                  </a:lnTo>
                  <a:lnTo>
                    <a:pt x="1179" y="139"/>
                  </a:lnTo>
                  <a:lnTo>
                    <a:pt x="1116" y="134"/>
                  </a:lnTo>
                  <a:lnTo>
                    <a:pt x="1081" y="165"/>
                  </a:lnTo>
                  <a:lnTo>
                    <a:pt x="1101" y="232"/>
                  </a:lnTo>
                  <a:lnTo>
                    <a:pt x="1066" y="264"/>
                  </a:lnTo>
                  <a:lnTo>
                    <a:pt x="1066" y="215"/>
                  </a:lnTo>
                  <a:lnTo>
                    <a:pt x="1042" y="215"/>
                  </a:lnTo>
                  <a:lnTo>
                    <a:pt x="1018" y="236"/>
                  </a:lnTo>
                  <a:lnTo>
                    <a:pt x="1011" y="210"/>
                  </a:lnTo>
                  <a:lnTo>
                    <a:pt x="1048" y="178"/>
                  </a:lnTo>
                  <a:lnTo>
                    <a:pt x="1009" y="180"/>
                  </a:lnTo>
                  <a:lnTo>
                    <a:pt x="898" y="236"/>
                  </a:lnTo>
                  <a:lnTo>
                    <a:pt x="920" y="262"/>
                  </a:lnTo>
                  <a:lnTo>
                    <a:pt x="887" y="293"/>
                  </a:lnTo>
                  <a:lnTo>
                    <a:pt x="900" y="316"/>
                  </a:lnTo>
                  <a:lnTo>
                    <a:pt x="924" y="306"/>
                  </a:lnTo>
                  <a:lnTo>
                    <a:pt x="926" y="338"/>
                  </a:lnTo>
                  <a:lnTo>
                    <a:pt x="952" y="368"/>
                  </a:lnTo>
                  <a:lnTo>
                    <a:pt x="911" y="379"/>
                  </a:lnTo>
                  <a:lnTo>
                    <a:pt x="898" y="397"/>
                  </a:lnTo>
                  <a:lnTo>
                    <a:pt x="909" y="423"/>
                  </a:lnTo>
                  <a:lnTo>
                    <a:pt x="876" y="429"/>
                  </a:lnTo>
                  <a:lnTo>
                    <a:pt x="830" y="416"/>
                  </a:lnTo>
                  <a:lnTo>
                    <a:pt x="817" y="466"/>
                  </a:lnTo>
                  <a:lnTo>
                    <a:pt x="739" y="453"/>
                  </a:lnTo>
                  <a:lnTo>
                    <a:pt x="739" y="566"/>
                  </a:lnTo>
                  <a:lnTo>
                    <a:pt x="684" y="557"/>
                  </a:lnTo>
                  <a:lnTo>
                    <a:pt x="599" y="481"/>
                  </a:lnTo>
                  <a:lnTo>
                    <a:pt x="630" y="459"/>
                  </a:lnTo>
                  <a:lnTo>
                    <a:pt x="580" y="384"/>
                  </a:lnTo>
                  <a:lnTo>
                    <a:pt x="547" y="368"/>
                  </a:lnTo>
                  <a:lnTo>
                    <a:pt x="497" y="386"/>
                  </a:lnTo>
                  <a:lnTo>
                    <a:pt x="440" y="364"/>
                  </a:lnTo>
                  <a:lnTo>
                    <a:pt x="434" y="451"/>
                  </a:lnTo>
                  <a:lnTo>
                    <a:pt x="331" y="492"/>
                  </a:lnTo>
                  <a:lnTo>
                    <a:pt x="292" y="466"/>
                  </a:lnTo>
                  <a:lnTo>
                    <a:pt x="299" y="446"/>
                  </a:lnTo>
                  <a:lnTo>
                    <a:pt x="194" y="444"/>
                  </a:lnTo>
                  <a:lnTo>
                    <a:pt x="168" y="481"/>
                  </a:lnTo>
                  <a:lnTo>
                    <a:pt x="161" y="505"/>
                  </a:lnTo>
                  <a:lnTo>
                    <a:pt x="155" y="470"/>
                  </a:lnTo>
                  <a:lnTo>
                    <a:pt x="135" y="453"/>
                  </a:lnTo>
                  <a:lnTo>
                    <a:pt x="111" y="477"/>
                  </a:lnTo>
                  <a:lnTo>
                    <a:pt x="81" y="492"/>
                  </a:lnTo>
                  <a:lnTo>
                    <a:pt x="78" y="514"/>
                  </a:lnTo>
                  <a:lnTo>
                    <a:pt x="94" y="533"/>
                  </a:lnTo>
                  <a:lnTo>
                    <a:pt x="94" y="533"/>
                  </a:lnTo>
                  <a:lnTo>
                    <a:pt x="94" y="535"/>
                  </a:lnTo>
                  <a:lnTo>
                    <a:pt x="100" y="570"/>
                  </a:lnTo>
                  <a:lnTo>
                    <a:pt x="148" y="637"/>
                  </a:lnTo>
                  <a:lnTo>
                    <a:pt x="150" y="639"/>
                  </a:lnTo>
                  <a:lnTo>
                    <a:pt x="150" y="639"/>
                  </a:lnTo>
                  <a:lnTo>
                    <a:pt x="150" y="685"/>
                  </a:lnTo>
                  <a:lnTo>
                    <a:pt x="174" y="713"/>
                  </a:lnTo>
                  <a:lnTo>
                    <a:pt x="177" y="715"/>
                  </a:lnTo>
                  <a:lnTo>
                    <a:pt x="174" y="717"/>
                  </a:lnTo>
                  <a:lnTo>
                    <a:pt x="118" y="761"/>
                  </a:lnTo>
                  <a:lnTo>
                    <a:pt x="113" y="787"/>
                  </a:lnTo>
                  <a:lnTo>
                    <a:pt x="113" y="789"/>
                  </a:lnTo>
                  <a:lnTo>
                    <a:pt x="113" y="789"/>
                  </a:lnTo>
                  <a:lnTo>
                    <a:pt x="100" y="808"/>
                  </a:lnTo>
                  <a:lnTo>
                    <a:pt x="89" y="856"/>
                  </a:lnTo>
                  <a:lnTo>
                    <a:pt x="89" y="858"/>
                  </a:lnTo>
                  <a:lnTo>
                    <a:pt x="87" y="858"/>
                  </a:lnTo>
                  <a:lnTo>
                    <a:pt x="61" y="854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15" y="891"/>
                  </a:lnTo>
                  <a:lnTo>
                    <a:pt x="0" y="899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35" y="953"/>
                  </a:lnTo>
                  <a:lnTo>
                    <a:pt x="48" y="1105"/>
                  </a:lnTo>
                  <a:lnTo>
                    <a:pt x="48" y="1107"/>
                  </a:lnTo>
                  <a:lnTo>
                    <a:pt x="48" y="1107"/>
                  </a:lnTo>
                  <a:lnTo>
                    <a:pt x="15" y="1142"/>
                  </a:lnTo>
                  <a:lnTo>
                    <a:pt x="37" y="1157"/>
                  </a:lnTo>
                  <a:lnTo>
                    <a:pt x="37" y="1159"/>
                  </a:lnTo>
                  <a:lnTo>
                    <a:pt x="37" y="1159"/>
                  </a:lnTo>
                  <a:lnTo>
                    <a:pt x="28" y="1201"/>
                  </a:lnTo>
                  <a:lnTo>
                    <a:pt x="48" y="1220"/>
                  </a:lnTo>
                  <a:lnTo>
                    <a:pt x="48" y="1220"/>
                  </a:lnTo>
                  <a:lnTo>
                    <a:pt x="48" y="1222"/>
                  </a:lnTo>
                  <a:lnTo>
                    <a:pt x="48" y="1250"/>
                  </a:lnTo>
                  <a:lnTo>
                    <a:pt x="70" y="1266"/>
                  </a:lnTo>
                  <a:lnTo>
                    <a:pt x="72" y="1266"/>
                  </a:lnTo>
                  <a:lnTo>
                    <a:pt x="70" y="1268"/>
                  </a:lnTo>
                  <a:lnTo>
                    <a:pt x="59" y="1294"/>
                  </a:lnTo>
                  <a:lnTo>
                    <a:pt x="59" y="1296"/>
                  </a:lnTo>
                  <a:lnTo>
                    <a:pt x="59" y="1296"/>
                  </a:lnTo>
                  <a:lnTo>
                    <a:pt x="26" y="1335"/>
                  </a:lnTo>
                  <a:lnTo>
                    <a:pt x="24" y="1363"/>
                  </a:lnTo>
                  <a:lnTo>
                    <a:pt x="76" y="1363"/>
                  </a:lnTo>
                  <a:lnTo>
                    <a:pt x="78" y="1363"/>
                  </a:lnTo>
                  <a:lnTo>
                    <a:pt x="78" y="1363"/>
                  </a:lnTo>
                  <a:lnTo>
                    <a:pt x="102" y="1380"/>
                  </a:lnTo>
                  <a:lnTo>
                    <a:pt x="126" y="1365"/>
                  </a:lnTo>
                  <a:lnTo>
                    <a:pt x="129" y="1363"/>
                  </a:lnTo>
                  <a:lnTo>
                    <a:pt x="129" y="1365"/>
                  </a:lnTo>
                  <a:lnTo>
                    <a:pt x="142" y="1383"/>
                  </a:lnTo>
                  <a:lnTo>
                    <a:pt x="144" y="1383"/>
                  </a:lnTo>
                  <a:lnTo>
                    <a:pt x="144" y="1385"/>
                  </a:lnTo>
                  <a:lnTo>
                    <a:pt x="161" y="1411"/>
                  </a:lnTo>
                  <a:lnTo>
                    <a:pt x="163" y="1413"/>
                  </a:lnTo>
                  <a:lnTo>
                    <a:pt x="161" y="1415"/>
                  </a:lnTo>
                  <a:lnTo>
                    <a:pt x="142" y="1428"/>
                  </a:lnTo>
                  <a:lnTo>
                    <a:pt x="142" y="1452"/>
                  </a:lnTo>
                  <a:lnTo>
                    <a:pt x="163" y="1452"/>
                  </a:lnTo>
                  <a:lnTo>
                    <a:pt x="183" y="1439"/>
                  </a:lnTo>
                  <a:lnTo>
                    <a:pt x="185" y="1439"/>
                  </a:lnTo>
                  <a:lnTo>
                    <a:pt x="185" y="1441"/>
                  </a:lnTo>
                  <a:lnTo>
                    <a:pt x="209" y="1484"/>
                  </a:lnTo>
                  <a:lnTo>
                    <a:pt x="209" y="1487"/>
                  </a:lnTo>
                  <a:lnTo>
                    <a:pt x="209" y="1487"/>
                  </a:lnTo>
                  <a:lnTo>
                    <a:pt x="207" y="1541"/>
                  </a:lnTo>
                  <a:lnTo>
                    <a:pt x="238" y="1556"/>
                  </a:lnTo>
                  <a:lnTo>
                    <a:pt x="240" y="1558"/>
                  </a:lnTo>
                  <a:lnTo>
                    <a:pt x="240" y="1558"/>
                  </a:lnTo>
                  <a:lnTo>
                    <a:pt x="225" y="1614"/>
                  </a:lnTo>
                  <a:lnTo>
                    <a:pt x="242" y="1651"/>
                  </a:lnTo>
                  <a:lnTo>
                    <a:pt x="281" y="1664"/>
                  </a:lnTo>
                  <a:lnTo>
                    <a:pt x="283" y="1664"/>
                  </a:lnTo>
                  <a:lnTo>
                    <a:pt x="281" y="1666"/>
                  </a:lnTo>
                  <a:lnTo>
                    <a:pt x="253" y="1734"/>
                  </a:lnTo>
                  <a:lnTo>
                    <a:pt x="246" y="1818"/>
                  </a:lnTo>
                  <a:lnTo>
                    <a:pt x="277" y="1851"/>
                  </a:lnTo>
                  <a:lnTo>
                    <a:pt x="307" y="1827"/>
                  </a:lnTo>
                  <a:lnTo>
                    <a:pt x="307" y="1825"/>
                  </a:lnTo>
                  <a:lnTo>
                    <a:pt x="310" y="1825"/>
                  </a:lnTo>
                  <a:lnTo>
                    <a:pt x="357" y="1822"/>
                  </a:lnTo>
                  <a:lnTo>
                    <a:pt x="375" y="1794"/>
                  </a:lnTo>
                  <a:lnTo>
                    <a:pt x="375" y="1790"/>
                  </a:lnTo>
                  <a:lnTo>
                    <a:pt x="377" y="1792"/>
                  </a:lnTo>
                  <a:lnTo>
                    <a:pt x="403" y="1818"/>
                  </a:lnTo>
                  <a:lnTo>
                    <a:pt x="436" y="1779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490" y="1666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27" y="1660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597" y="1688"/>
                  </a:lnTo>
                  <a:lnTo>
                    <a:pt x="612" y="1734"/>
                  </a:lnTo>
                  <a:lnTo>
                    <a:pt x="654" y="1714"/>
                  </a:lnTo>
                  <a:lnTo>
                    <a:pt x="654" y="1714"/>
                  </a:lnTo>
                  <a:lnTo>
                    <a:pt x="656" y="1714"/>
                  </a:lnTo>
                  <a:lnTo>
                    <a:pt x="680" y="1731"/>
                  </a:lnTo>
                  <a:lnTo>
                    <a:pt x="682" y="1731"/>
                  </a:lnTo>
                  <a:lnTo>
                    <a:pt x="682" y="1734"/>
                  </a:lnTo>
                  <a:lnTo>
                    <a:pt x="728" y="1838"/>
                  </a:lnTo>
                  <a:lnTo>
                    <a:pt x="787" y="1948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26" y="1922"/>
                  </a:lnTo>
                  <a:lnTo>
                    <a:pt x="865" y="1907"/>
                  </a:lnTo>
                  <a:lnTo>
                    <a:pt x="867" y="1907"/>
                  </a:lnTo>
                  <a:lnTo>
                    <a:pt x="867" y="1907"/>
                  </a:lnTo>
                  <a:lnTo>
                    <a:pt x="898" y="1933"/>
                  </a:lnTo>
                  <a:lnTo>
                    <a:pt x="913" y="1918"/>
                  </a:lnTo>
                  <a:lnTo>
                    <a:pt x="915" y="1916"/>
                  </a:lnTo>
                  <a:lnTo>
                    <a:pt x="915" y="1918"/>
                  </a:lnTo>
                  <a:lnTo>
                    <a:pt x="942" y="1939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963" y="1918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20" y="1920"/>
                  </a:lnTo>
                  <a:lnTo>
                    <a:pt x="1055" y="1946"/>
                  </a:lnTo>
                  <a:lnTo>
                    <a:pt x="1122" y="1920"/>
                  </a:lnTo>
                  <a:lnTo>
                    <a:pt x="1122" y="1920"/>
                  </a:lnTo>
                  <a:lnTo>
                    <a:pt x="1125" y="1922"/>
                  </a:lnTo>
                  <a:lnTo>
                    <a:pt x="1146" y="1939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40" y="1898"/>
                  </a:lnTo>
                  <a:lnTo>
                    <a:pt x="1268" y="1903"/>
                  </a:lnTo>
                  <a:lnTo>
                    <a:pt x="1297" y="1892"/>
                  </a:lnTo>
                  <a:lnTo>
                    <a:pt x="1292" y="1870"/>
                  </a:lnTo>
                  <a:lnTo>
                    <a:pt x="1292" y="1870"/>
                  </a:lnTo>
                  <a:lnTo>
                    <a:pt x="1295" y="1868"/>
                  </a:lnTo>
                  <a:lnTo>
                    <a:pt x="1366" y="1831"/>
                  </a:lnTo>
                  <a:lnTo>
                    <a:pt x="1349" y="1781"/>
                  </a:lnTo>
                  <a:lnTo>
                    <a:pt x="1347" y="1779"/>
                  </a:lnTo>
                  <a:lnTo>
                    <a:pt x="1349" y="1779"/>
                  </a:lnTo>
                  <a:lnTo>
                    <a:pt x="1373" y="1753"/>
                  </a:lnTo>
                  <a:lnTo>
                    <a:pt x="1362" y="1729"/>
                  </a:lnTo>
                  <a:lnTo>
                    <a:pt x="1316" y="1699"/>
                  </a:lnTo>
                  <a:lnTo>
                    <a:pt x="1316" y="1697"/>
                  </a:lnTo>
                  <a:lnTo>
                    <a:pt x="1316" y="1695"/>
                  </a:lnTo>
                  <a:lnTo>
                    <a:pt x="1340" y="1649"/>
                  </a:lnTo>
                  <a:lnTo>
                    <a:pt x="1295" y="1619"/>
                  </a:lnTo>
                  <a:lnTo>
                    <a:pt x="1292" y="1617"/>
                  </a:lnTo>
                  <a:lnTo>
                    <a:pt x="1295" y="1614"/>
                  </a:lnTo>
                  <a:lnTo>
                    <a:pt x="1316" y="1591"/>
                  </a:lnTo>
                  <a:lnTo>
                    <a:pt x="1316" y="1489"/>
                  </a:lnTo>
                  <a:lnTo>
                    <a:pt x="1316" y="1487"/>
                  </a:lnTo>
                  <a:lnTo>
                    <a:pt x="1316" y="1487"/>
                  </a:lnTo>
                  <a:lnTo>
                    <a:pt x="1406" y="1454"/>
                  </a:lnTo>
                  <a:lnTo>
                    <a:pt x="1410" y="1413"/>
                  </a:lnTo>
                  <a:lnTo>
                    <a:pt x="1410" y="1411"/>
                  </a:lnTo>
                  <a:lnTo>
                    <a:pt x="1410" y="1411"/>
                  </a:lnTo>
                  <a:lnTo>
                    <a:pt x="1462" y="1409"/>
                  </a:lnTo>
                  <a:lnTo>
                    <a:pt x="1475" y="1376"/>
                  </a:lnTo>
                  <a:lnTo>
                    <a:pt x="1473" y="1344"/>
                  </a:lnTo>
                  <a:lnTo>
                    <a:pt x="1473" y="1341"/>
                  </a:lnTo>
                  <a:lnTo>
                    <a:pt x="1475" y="1341"/>
                  </a:lnTo>
                  <a:lnTo>
                    <a:pt x="1499" y="1328"/>
                  </a:lnTo>
                  <a:lnTo>
                    <a:pt x="1480" y="1261"/>
                  </a:lnTo>
                  <a:lnTo>
                    <a:pt x="1445" y="1237"/>
                  </a:lnTo>
                  <a:lnTo>
                    <a:pt x="1445" y="1237"/>
                  </a:lnTo>
                  <a:lnTo>
                    <a:pt x="1445" y="1235"/>
                  </a:lnTo>
                  <a:lnTo>
                    <a:pt x="1469" y="1153"/>
                  </a:lnTo>
                  <a:lnTo>
                    <a:pt x="1436" y="1068"/>
                  </a:lnTo>
                  <a:lnTo>
                    <a:pt x="1436" y="1068"/>
                  </a:lnTo>
                  <a:lnTo>
                    <a:pt x="1436" y="1066"/>
                  </a:lnTo>
                  <a:lnTo>
                    <a:pt x="1454" y="1044"/>
                  </a:lnTo>
                  <a:lnTo>
                    <a:pt x="1456" y="1042"/>
                  </a:lnTo>
                  <a:lnTo>
                    <a:pt x="1456" y="1042"/>
                  </a:lnTo>
                  <a:lnTo>
                    <a:pt x="1519" y="1064"/>
                  </a:lnTo>
                  <a:lnTo>
                    <a:pt x="1558" y="1055"/>
                  </a:lnTo>
                  <a:lnTo>
                    <a:pt x="1571" y="1031"/>
                  </a:lnTo>
                  <a:lnTo>
                    <a:pt x="1574" y="1031"/>
                  </a:lnTo>
                  <a:lnTo>
                    <a:pt x="1574" y="1031"/>
                  </a:lnTo>
                  <a:lnTo>
                    <a:pt x="1621" y="1023"/>
                  </a:lnTo>
                  <a:lnTo>
                    <a:pt x="1628" y="995"/>
                  </a:lnTo>
                  <a:lnTo>
                    <a:pt x="1552" y="832"/>
                  </a:lnTo>
                  <a:lnTo>
                    <a:pt x="1550" y="832"/>
                  </a:lnTo>
                  <a:lnTo>
                    <a:pt x="1552" y="832"/>
                  </a:lnTo>
                  <a:lnTo>
                    <a:pt x="1558" y="791"/>
                  </a:lnTo>
                  <a:lnTo>
                    <a:pt x="1558" y="791"/>
                  </a:lnTo>
                  <a:lnTo>
                    <a:pt x="1560" y="791"/>
                  </a:lnTo>
                  <a:lnTo>
                    <a:pt x="1613" y="754"/>
                  </a:lnTo>
                  <a:lnTo>
                    <a:pt x="1593" y="715"/>
                  </a:lnTo>
                  <a:lnTo>
                    <a:pt x="1591" y="715"/>
                  </a:lnTo>
                  <a:lnTo>
                    <a:pt x="1593" y="713"/>
                  </a:lnTo>
                  <a:lnTo>
                    <a:pt x="1643" y="665"/>
                  </a:lnTo>
                  <a:lnTo>
                    <a:pt x="1643" y="665"/>
                  </a:lnTo>
                  <a:lnTo>
                    <a:pt x="1645" y="665"/>
                  </a:lnTo>
                  <a:lnTo>
                    <a:pt x="1689" y="661"/>
                  </a:lnTo>
                  <a:lnTo>
                    <a:pt x="1715" y="633"/>
                  </a:lnTo>
                  <a:lnTo>
                    <a:pt x="1720" y="583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91" y="555"/>
                  </a:lnTo>
                  <a:lnTo>
                    <a:pt x="1689" y="522"/>
                  </a:lnTo>
                  <a:lnTo>
                    <a:pt x="1669" y="494"/>
                  </a:lnTo>
                  <a:lnTo>
                    <a:pt x="1669" y="492"/>
                  </a:lnTo>
                  <a:lnTo>
                    <a:pt x="1669" y="492"/>
                  </a:lnTo>
                  <a:lnTo>
                    <a:pt x="1693" y="470"/>
                  </a:lnTo>
                  <a:lnTo>
                    <a:pt x="1669" y="442"/>
                  </a:lnTo>
                  <a:lnTo>
                    <a:pt x="1667" y="440"/>
                  </a:lnTo>
                  <a:lnTo>
                    <a:pt x="1669" y="440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28" y="386"/>
                  </a:lnTo>
                  <a:lnTo>
                    <a:pt x="1754" y="375"/>
                  </a:lnTo>
                  <a:lnTo>
                    <a:pt x="1774" y="347"/>
                  </a:lnTo>
                  <a:lnTo>
                    <a:pt x="1737" y="269"/>
                  </a:lnTo>
                  <a:lnTo>
                    <a:pt x="1691" y="269"/>
                  </a:lnTo>
                  <a:lnTo>
                    <a:pt x="1691" y="269"/>
                  </a:lnTo>
                  <a:lnTo>
                    <a:pt x="1689" y="269"/>
                  </a:lnTo>
                  <a:lnTo>
                    <a:pt x="1654" y="254"/>
                  </a:lnTo>
                  <a:lnTo>
                    <a:pt x="1652" y="254"/>
                  </a:lnTo>
                  <a:lnTo>
                    <a:pt x="1652" y="251"/>
                  </a:lnTo>
                  <a:lnTo>
                    <a:pt x="1632" y="204"/>
                  </a:lnTo>
                  <a:lnTo>
                    <a:pt x="1632" y="202"/>
                  </a:lnTo>
                  <a:lnTo>
                    <a:pt x="1635" y="202"/>
                  </a:lnTo>
                  <a:lnTo>
                    <a:pt x="1709" y="115"/>
                  </a:lnTo>
                  <a:lnTo>
                    <a:pt x="1709" y="74"/>
                  </a:lnTo>
                  <a:lnTo>
                    <a:pt x="1611" y="0"/>
                  </a:lnTo>
                  <a:lnTo>
                    <a:pt x="16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7" name="Freeform 172">
              <a:extLst>
                <a:ext uri="{FF2B5EF4-FFF2-40B4-BE49-F238E27FC236}">
                  <a16:creationId xmlns:a16="http://schemas.microsoft.com/office/drawing/2014/main" xmlns="" id="{2E8DCB0A-502B-4E5F-B88B-1E946F8BB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5" y="458"/>
              <a:ext cx="89" cy="132"/>
            </a:xfrm>
            <a:custGeom>
              <a:avLst/>
              <a:gdLst>
                <a:gd name="T0" fmla="*/ 0 w 89"/>
                <a:gd name="T1" fmla="*/ 74 h 132"/>
                <a:gd name="T2" fmla="*/ 48 w 89"/>
                <a:gd name="T3" fmla="*/ 132 h 132"/>
                <a:gd name="T4" fmla="*/ 59 w 89"/>
                <a:gd name="T5" fmla="*/ 121 h 132"/>
                <a:gd name="T6" fmla="*/ 72 w 89"/>
                <a:gd name="T7" fmla="*/ 54 h 132"/>
                <a:gd name="T8" fmla="*/ 89 w 89"/>
                <a:gd name="T9" fmla="*/ 24 h 132"/>
                <a:gd name="T10" fmla="*/ 72 w 89"/>
                <a:gd name="T11" fmla="*/ 0 h 132"/>
                <a:gd name="T12" fmla="*/ 26 w 89"/>
                <a:gd name="T13" fmla="*/ 2 h 132"/>
                <a:gd name="T14" fmla="*/ 0 w 89"/>
                <a:gd name="T15" fmla="*/ 43 h 132"/>
                <a:gd name="T16" fmla="*/ 0 w 89"/>
                <a:gd name="T17" fmla="*/ 74 h 132"/>
                <a:gd name="T18" fmla="*/ 0 w 89"/>
                <a:gd name="T19" fmla="*/ 74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" h="132">
                  <a:moveTo>
                    <a:pt x="0" y="74"/>
                  </a:moveTo>
                  <a:lnTo>
                    <a:pt x="48" y="132"/>
                  </a:lnTo>
                  <a:lnTo>
                    <a:pt x="59" y="121"/>
                  </a:lnTo>
                  <a:lnTo>
                    <a:pt x="72" y="54"/>
                  </a:lnTo>
                  <a:lnTo>
                    <a:pt x="89" y="24"/>
                  </a:lnTo>
                  <a:lnTo>
                    <a:pt x="72" y="0"/>
                  </a:lnTo>
                  <a:lnTo>
                    <a:pt x="26" y="2"/>
                  </a:lnTo>
                  <a:lnTo>
                    <a:pt x="0" y="43"/>
                  </a:lnTo>
                  <a:lnTo>
                    <a:pt x="0" y="74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8" name="Freeform 173">
              <a:extLst>
                <a:ext uri="{FF2B5EF4-FFF2-40B4-BE49-F238E27FC236}">
                  <a16:creationId xmlns:a16="http://schemas.microsoft.com/office/drawing/2014/main" xmlns="" id="{10059D59-D8C0-48C8-8652-0E70BCF002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2" y="363"/>
              <a:ext cx="906" cy="1077"/>
            </a:xfrm>
            <a:custGeom>
              <a:avLst/>
              <a:gdLst>
                <a:gd name="T0" fmla="*/ 858 w 906"/>
                <a:gd name="T1" fmla="*/ 628 h 1077"/>
                <a:gd name="T2" fmla="*/ 906 w 906"/>
                <a:gd name="T3" fmla="*/ 554 h 1077"/>
                <a:gd name="T4" fmla="*/ 745 w 906"/>
                <a:gd name="T5" fmla="*/ 505 h 1077"/>
                <a:gd name="T6" fmla="*/ 684 w 906"/>
                <a:gd name="T7" fmla="*/ 531 h 1077"/>
                <a:gd name="T8" fmla="*/ 647 w 906"/>
                <a:gd name="T9" fmla="*/ 561 h 1077"/>
                <a:gd name="T10" fmla="*/ 684 w 906"/>
                <a:gd name="T11" fmla="*/ 505 h 1077"/>
                <a:gd name="T12" fmla="*/ 693 w 906"/>
                <a:gd name="T13" fmla="*/ 394 h 1077"/>
                <a:gd name="T14" fmla="*/ 658 w 906"/>
                <a:gd name="T15" fmla="*/ 398 h 1077"/>
                <a:gd name="T16" fmla="*/ 623 w 906"/>
                <a:gd name="T17" fmla="*/ 383 h 1077"/>
                <a:gd name="T18" fmla="*/ 608 w 906"/>
                <a:gd name="T19" fmla="*/ 312 h 1077"/>
                <a:gd name="T20" fmla="*/ 654 w 906"/>
                <a:gd name="T21" fmla="*/ 325 h 1077"/>
                <a:gd name="T22" fmla="*/ 695 w 906"/>
                <a:gd name="T23" fmla="*/ 318 h 1077"/>
                <a:gd name="T24" fmla="*/ 719 w 906"/>
                <a:gd name="T25" fmla="*/ 253 h 1077"/>
                <a:gd name="T26" fmla="*/ 845 w 906"/>
                <a:gd name="T27" fmla="*/ 199 h 1077"/>
                <a:gd name="T28" fmla="*/ 865 w 906"/>
                <a:gd name="T29" fmla="*/ 182 h 1077"/>
                <a:gd name="T30" fmla="*/ 821 w 906"/>
                <a:gd name="T31" fmla="*/ 151 h 1077"/>
                <a:gd name="T32" fmla="*/ 752 w 906"/>
                <a:gd name="T33" fmla="*/ 112 h 1077"/>
                <a:gd name="T34" fmla="*/ 745 w 906"/>
                <a:gd name="T35" fmla="*/ 62 h 1077"/>
                <a:gd name="T36" fmla="*/ 736 w 906"/>
                <a:gd name="T37" fmla="*/ 0 h 1077"/>
                <a:gd name="T38" fmla="*/ 634 w 906"/>
                <a:gd name="T39" fmla="*/ 101 h 1077"/>
                <a:gd name="T40" fmla="*/ 673 w 906"/>
                <a:gd name="T41" fmla="*/ 162 h 1077"/>
                <a:gd name="T42" fmla="*/ 534 w 906"/>
                <a:gd name="T43" fmla="*/ 149 h 1077"/>
                <a:gd name="T44" fmla="*/ 231 w 906"/>
                <a:gd name="T45" fmla="*/ 329 h 1077"/>
                <a:gd name="T46" fmla="*/ 185 w 906"/>
                <a:gd name="T47" fmla="*/ 431 h 1077"/>
                <a:gd name="T48" fmla="*/ 107 w 906"/>
                <a:gd name="T49" fmla="*/ 483 h 1077"/>
                <a:gd name="T50" fmla="*/ 168 w 906"/>
                <a:gd name="T51" fmla="*/ 513 h 1077"/>
                <a:gd name="T52" fmla="*/ 209 w 906"/>
                <a:gd name="T53" fmla="*/ 583 h 1077"/>
                <a:gd name="T54" fmla="*/ 139 w 906"/>
                <a:gd name="T55" fmla="*/ 604 h 1077"/>
                <a:gd name="T56" fmla="*/ 83 w 906"/>
                <a:gd name="T57" fmla="*/ 641 h 1077"/>
                <a:gd name="T58" fmla="*/ 0 w 906"/>
                <a:gd name="T59" fmla="*/ 730 h 1077"/>
                <a:gd name="T60" fmla="*/ 98 w 906"/>
                <a:gd name="T61" fmla="*/ 804 h 1077"/>
                <a:gd name="T62" fmla="*/ 98 w 906"/>
                <a:gd name="T63" fmla="*/ 849 h 1077"/>
                <a:gd name="T64" fmla="*/ 98 w 906"/>
                <a:gd name="T65" fmla="*/ 849 h 1077"/>
                <a:gd name="T66" fmla="*/ 43 w 906"/>
                <a:gd name="T67" fmla="*/ 981 h 1077"/>
                <a:gd name="T68" fmla="*/ 126 w 906"/>
                <a:gd name="T69" fmla="*/ 996 h 1077"/>
                <a:gd name="T70" fmla="*/ 126 w 906"/>
                <a:gd name="T71" fmla="*/ 999 h 1077"/>
                <a:gd name="T72" fmla="*/ 176 w 906"/>
                <a:gd name="T73" fmla="*/ 1042 h 1077"/>
                <a:gd name="T74" fmla="*/ 178 w 906"/>
                <a:gd name="T75" fmla="*/ 1042 h 1077"/>
                <a:gd name="T76" fmla="*/ 239 w 906"/>
                <a:gd name="T77" fmla="*/ 1057 h 1077"/>
                <a:gd name="T78" fmla="*/ 239 w 906"/>
                <a:gd name="T79" fmla="*/ 1057 h 1077"/>
                <a:gd name="T80" fmla="*/ 307 w 906"/>
                <a:gd name="T81" fmla="*/ 1044 h 1077"/>
                <a:gd name="T82" fmla="*/ 309 w 906"/>
                <a:gd name="T83" fmla="*/ 1042 h 1077"/>
                <a:gd name="T84" fmla="*/ 388 w 906"/>
                <a:gd name="T85" fmla="*/ 1005 h 1077"/>
                <a:gd name="T86" fmla="*/ 381 w 906"/>
                <a:gd name="T87" fmla="*/ 970 h 1077"/>
                <a:gd name="T88" fmla="*/ 416 w 906"/>
                <a:gd name="T89" fmla="*/ 957 h 1077"/>
                <a:gd name="T90" fmla="*/ 427 w 906"/>
                <a:gd name="T91" fmla="*/ 925 h 1077"/>
                <a:gd name="T92" fmla="*/ 457 w 906"/>
                <a:gd name="T93" fmla="*/ 923 h 1077"/>
                <a:gd name="T94" fmla="*/ 466 w 906"/>
                <a:gd name="T95" fmla="*/ 895 h 1077"/>
                <a:gd name="T96" fmla="*/ 521 w 906"/>
                <a:gd name="T97" fmla="*/ 882 h 1077"/>
                <a:gd name="T98" fmla="*/ 534 w 906"/>
                <a:gd name="T99" fmla="*/ 856 h 1077"/>
                <a:gd name="T100" fmla="*/ 614 w 906"/>
                <a:gd name="T101" fmla="*/ 851 h 1077"/>
                <a:gd name="T102" fmla="*/ 617 w 906"/>
                <a:gd name="T103" fmla="*/ 851 h 1077"/>
                <a:gd name="T104" fmla="*/ 691 w 906"/>
                <a:gd name="T105" fmla="*/ 886 h 1077"/>
                <a:gd name="T106" fmla="*/ 691 w 906"/>
                <a:gd name="T107" fmla="*/ 886 h 1077"/>
                <a:gd name="T108" fmla="*/ 800 w 906"/>
                <a:gd name="T109" fmla="*/ 747 h 1077"/>
                <a:gd name="T110" fmla="*/ 804 w 906"/>
                <a:gd name="T111" fmla="*/ 747 h 1077"/>
                <a:gd name="T112" fmla="*/ 869 w 906"/>
                <a:gd name="T113" fmla="*/ 752 h 10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6" h="1077">
                  <a:moveTo>
                    <a:pt x="869" y="752"/>
                  </a:moveTo>
                  <a:lnTo>
                    <a:pt x="858" y="628"/>
                  </a:lnTo>
                  <a:lnTo>
                    <a:pt x="826" y="609"/>
                  </a:lnTo>
                  <a:lnTo>
                    <a:pt x="906" y="554"/>
                  </a:lnTo>
                  <a:lnTo>
                    <a:pt x="893" y="515"/>
                  </a:lnTo>
                  <a:lnTo>
                    <a:pt x="745" y="505"/>
                  </a:lnTo>
                  <a:lnTo>
                    <a:pt x="725" y="528"/>
                  </a:lnTo>
                  <a:lnTo>
                    <a:pt x="684" y="531"/>
                  </a:lnTo>
                  <a:lnTo>
                    <a:pt x="680" y="563"/>
                  </a:lnTo>
                  <a:lnTo>
                    <a:pt x="647" y="561"/>
                  </a:lnTo>
                  <a:lnTo>
                    <a:pt x="647" y="515"/>
                  </a:lnTo>
                  <a:lnTo>
                    <a:pt x="684" y="505"/>
                  </a:lnTo>
                  <a:lnTo>
                    <a:pt x="699" y="474"/>
                  </a:lnTo>
                  <a:lnTo>
                    <a:pt x="693" y="394"/>
                  </a:lnTo>
                  <a:lnTo>
                    <a:pt x="678" y="387"/>
                  </a:lnTo>
                  <a:lnTo>
                    <a:pt x="658" y="398"/>
                  </a:lnTo>
                  <a:lnTo>
                    <a:pt x="658" y="370"/>
                  </a:lnTo>
                  <a:lnTo>
                    <a:pt x="623" y="383"/>
                  </a:lnTo>
                  <a:lnTo>
                    <a:pt x="599" y="355"/>
                  </a:lnTo>
                  <a:lnTo>
                    <a:pt x="608" y="312"/>
                  </a:lnTo>
                  <a:lnTo>
                    <a:pt x="636" y="338"/>
                  </a:lnTo>
                  <a:lnTo>
                    <a:pt x="654" y="325"/>
                  </a:lnTo>
                  <a:lnTo>
                    <a:pt x="680" y="351"/>
                  </a:lnTo>
                  <a:lnTo>
                    <a:pt x="695" y="318"/>
                  </a:lnTo>
                  <a:lnTo>
                    <a:pt x="691" y="277"/>
                  </a:lnTo>
                  <a:lnTo>
                    <a:pt x="719" y="253"/>
                  </a:lnTo>
                  <a:lnTo>
                    <a:pt x="765" y="257"/>
                  </a:lnTo>
                  <a:lnTo>
                    <a:pt x="845" y="199"/>
                  </a:lnTo>
                  <a:lnTo>
                    <a:pt x="826" y="175"/>
                  </a:lnTo>
                  <a:lnTo>
                    <a:pt x="865" y="182"/>
                  </a:lnTo>
                  <a:lnTo>
                    <a:pt x="865" y="143"/>
                  </a:lnTo>
                  <a:lnTo>
                    <a:pt x="821" y="151"/>
                  </a:lnTo>
                  <a:lnTo>
                    <a:pt x="808" y="123"/>
                  </a:lnTo>
                  <a:lnTo>
                    <a:pt x="752" y="112"/>
                  </a:lnTo>
                  <a:lnTo>
                    <a:pt x="773" y="84"/>
                  </a:lnTo>
                  <a:lnTo>
                    <a:pt x="745" y="62"/>
                  </a:lnTo>
                  <a:lnTo>
                    <a:pt x="771" y="43"/>
                  </a:lnTo>
                  <a:lnTo>
                    <a:pt x="736" y="0"/>
                  </a:lnTo>
                  <a:lnTo>
                    <a:pt x="640" y="56"/>
                  </a:lnTo>
                  <a:lnTo>
                    <a:pt x="634" y="101"/>
                  </a:lnTo>
                  <a:lnTo>
                    <a:pt x="608" y="136"/>
                  </a:lnTo>
                  <a:lnTo>
                    <a:pt x="673" y="162"/>
                  </a:lnTo>
                  <a:lnTo>
                    <a:pt x="638" y="177"/>
                  </a:lnTo>
                  <a:lnTo>
                    <a:pt x="534" y="149"/>
                  </a:lnTo>
                  <a:lnTo>
                    <a:pt x="412" y="229"/>
                  </a:lnTo>
                  <a:lnTo>
                    <a:pt x="231" y="329"/>
                  </a:lnTo>
                  <a:lnTo>
                    <a:pt x="181" y="407"/>
                  </a:lnTo>
                  <a:lnTo>
                    <a:pt x="185" y="431"/>
                  </a:lnTo>
                  <a:lnTo>
                    <a:pt x="152" y="442"/>
                  </a:lnTo>
                  <a:lnTo>
                    <a:pt x="107" y="483"/>
                  </a:lnTo>
                  <a:lnTo>
                    <a:pt x="139" y="524"/>
                  </a:lnTo>
                  <a:lnTo>
                    <a:pt x="168" y="513"/>
                  </a:lnTo>
                  <a:lnTo>
                    <a:pt x="213" y="539"/>
                  </a:lnTo>
                  <a:lnTo>
                    <a:pt x="209" y="583"/>
                  </a:lnTo>
                  <a:lnTo>
                    <a:pt x="168" y="587"/>
                  </a:lnTo>
                  <a:lnTo>
                    <a:pt x="139" y="604"/>
                  </a:lnTo>
                  <a:lnTo>
                    <a:pt x="83" y="567"/>
                  </a:lnTo>
                  <a:lnTo>
                    <a:pt x="83" y="641"/>
                  </a:lnTo>
                  <a:lnTo>
                    <a:pt x="22" y="684"/>
                  </a:lnTo>
                  <a:lnTo>
                    <a:pt x="0" y="730"/>
                  </a:lnTo>
                  <a:lnTo>
                    <a:pt x="98" y="801"/>
                  </a:lnTo>
                  <a:lnTo>
                    <a:pt x="98" y="804"/>
                  </a:lnTo>
                  <a:lnTo>
                    <a:pt x="98" y="804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98" y="849"/>
                  </a:lnTo>
                  <a:lnTo>
                    <a:pt x="24" y="936"/>
                  </a:lnTo>
                  <a:lnTo>
                    <a:pt x="43" y="981"/>
                  </a:lnTo>
                  <a:lnTo>
                    <a:pt x="78" y="996"/>
                  </a:lnTo>
                  <a:lnTo>
                    <a:pt x="126" y="996"/>
                  </a:lnTo>
                  <a:lnTo>
                    <a:pt x="126" y="996"/>
                  </a:lnTo>
                  <a:lnTo>
                    <a:pt x="126" y="999"/>
                  </a:lnTo>
                  <a:lnTo>
                    <a:pt x="146" y="1038"/>
                  </a:lnTo>
                  <a:lnTo>
                    <a:pt x="176" y="1042"/>
                  </a:lnTo>
                  <a:lnTo>
                    <a:pt x="176" y="1042"/>
                  </a:lnTo>
                  <a:lnTo>
                    <a:pt x="178" y="1042"/>
                  </a:lnTo>
                  <a:lnTo>
                    <a:pt x="198" y="107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39" y="1057"/>
                  </a:lnTo>
                  <a:lnTo>
                    <a:pt x="279" y="1070"/>
                  </a:lnTo>
                  <a:lnTo>
                    <a:pt x="307" y="1044"/>
                  </a:lnTo>
                  <a:lnTo>
                    <a:pt x="309" y="1044"/>
                  </a:lnTo>
                  <a:lnTo>
                    <a:pt x="309" y="1042"/>
                  </a:lnTo>
                  <a:lnTo>
                    <a:pt x="355" y="1040"/>
                  </a:lnTo>
                  <a:lnTo>
                    <a:pt x="388" y="1005"/>
                  </a:lnTo>
                  <a:lnTo>
                    <a:pt x="381" y="970"/>
                  </a:lnTo>
                  <a:lnTo>
                    <a:pt x="381" y="970"/>
                  </a:lnTo>
                  <a:lnTo>
                    <a:pt x="383" y="968"/>
                  </a:lnTo>
                  <a:lnTo>
                    <a:pt x="416" y="957"/>
                  </a:lnTo>
                  <a:lnTo>
                    <a:pt x="427" y="927"/>
                  </a:lnTo>
                  <a:lnTo>
                    <a:pt x="427" y="925"/>
                  </a:lnTo>
                  <a:lnTo>
                    <a:pt x="427" y="925"/>
                  </a:lnTo>
                  <a:lnTo>
                    <a:pt x="457" y="923"/>
                  </a:lnTo>
                  <a:lnTo>
                    <a:pt x="466" y="895"/>
                  </a:lnTo>
                  <a:lnTo>
                    <a:pt x="466" y="895"/>
                  </a:lnTo>
                  <a:lnTo>
                    <a:pt x="468" y="892"/>
                  </a:lnTo>
                  <a:lnTo>
                    <a:pt x="521" y="882"/>
                  </a:lnTo>
                  <a:lnTo>
                    <a:pt x="534" y="856"/>
                  </a:lnTo>
                  <a:lnTo>
                    <a:pt x="534" y="856"/>
                  </a:lnTo>
                  <a:lnTo>
                    <a:pt x="536" y="856"/>
                  </a:lnTo>
                  <a:lnTo>
                    <a:pt x="614" y="851"/>
                  </a:lnTo>
                  <a:lnTo>
                    <a:pt x="617" y="851"/>
                  </a:lnTo>
                  <a:lnTo>
                    <a:pt x="617" y="851"/>
                  </a:lnTo>
                  <a:lnTo>
                    <a:pt x="636" y="903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691" y="886"/>
                  </a:lnTo>
                  <a:lnTo>
                    <a:pt x="752" y="886"/>
                  </a:lnTo>
                  <a:lnTo>
                    <a:pt x="800" y="747"/>
                  </a:lnTo>
                  <a:lnTo>
                    <a:pt x="802" y="745"/>
                  </a:lnTo>
                  <a:lnTo>
                    <a:pt x="804" y="747"/>
                  </a:lnTo>
                  <a:lnTo>
                    <a:pt x="832" y="762"/>
                  </a:lnTo>
                  <a:lnTo>
                    <a:pt x="869" y="752"/>
                  </a:lnTo>
                  <a:lnTo>
                    <a:pt x="869" y="75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174">
              <a:extLst>
                <a:ext uri="{FF2B5EF4-FFF2-40B4-BE49-F238E27FC236}">
                  <a16:creationId xmlns:a16="http://schemas.microsoft.com/office/drawing/2014/main" xmlns="" id="{325A4A10-EABA-4AD2-B448-8BF29D371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4" y="1721"/>
              <a:ext cx="52" cy="33"/>
            </a:xfrm>
            <a:custGeom>
              <a:avLst/>
              <a:gdLst>
                <a:gd name="T0" fmla="*/ 0 w 52"/>
                <a:gd name="T1" fmla="*/ 13 h 33"/>
                <a:gd name="T2" fmla="*/ 17 w 52"/>
                <a:gd name="T3" fmla="*/ 33 h 33"/>
                <a:gd name="T4" fmla="*/ 52 w 52"/>
                <a:gd name="T5" fmla="*/ 5 h 33"/>
                <a:gd name="T6" fmla="*/ 37 w 52"/>
                <a:gd name="T7" fmla="*/ 0 h 33"/>
                <a:gd name="T8" fmla="*/ 0 w 52"/>
                <a:gd name="T9" fmla="*/ 13 h 33"/>
                <a:gd name="T10" fmla="*/ 0 w 52"/>
                <a:gd name="T11" fmla="*/ 1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33">
                  <a:moveTo>
                    <a:pt x="0" y="13"/>
                  </a:moveTo>
                  <a:lnTo>
                    <a:pt x="17" y="33"/>
                  </a:lnTo>
                  <a:lnTo>
                    <a:pt x="52" y="5"/>
                  </a:lnTo>
                  <a:lnTo>
                    <a:pt x="3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175">
              <a:extLst>
                <a:ext uri="{FF2B5EF4-FFF2-40B4-BE49-F238E27FC236}">
                  <a16:creationId xmlns:a16="http://schemas.microsoft.com/office/drawing/2014/main" xmlns="" id="{6D335C25-2B2D-4C0F-859D-E0E5261E4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06" y="2467"/>
              <a:ext cx="28" cy="34"/>
            </a:xfrm>
            <a:custGeom>
              <a:avLst/>
              <a:gdLst>
                <a:gd name="T0" fmla="*/ 0 w 28"/>
                <a:gd name="T1" fmla="*/ 11 h 34"/>
                <a:gd name="T2" fmla="*/ 2 w 28"/>
                <a:gd name="T3" fmla="*/ 24 h 34"/>
                <a:gd name="T4" fmla="*/ 19 w 28"/>
                <a:gd name="T5" fmla="*/ 34 h 34"/>
                <a:gd name="T6" fmla="*/ 28 w 28"/>
                <a:gd name="T7" fmla="*/ 15 h 34"/>
                <a:gd name="T8" fmla="*/ 19 w 28"/>
                <a:gd name="T9" fmla="*/ 0 h 34"/>
                <a:gd name="T10" fmla="*/ 0 w 28"/>
                <a:gd name="T11" fmla="*/ 11 h 34"/>
                <a:gd name="T12" fmla="*/ 0 w 28"/>
                <a:gd name="T13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34">
                  <a:moveTo>
                    <a:pt x="0" y="11"/>
                  </a:moveTo>
                  <a:lnTo>
                    <a:pt x="2" y="24"/>
                  </a:lnTo>
                  <a:lnTo>
                    <a:pt x="19" y="34"/>
                  </a:lnTo>
                  <a:lnTo>
                    <a:pt x="28" y="15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1" name="Freeform 176">
              <a:extLst>
                <a:ext uri="{FF2B5EF4-FFF2-40B4-BE49-F238E27FC236}">
                  <a16:creationId xmlns:a16="http://schemas.microsoft.com/office/drawing/2014/main" xmlns="" id="{1F9A4326-6AD4-4022-ADB1-301236DF6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8" y="2445"/>
              <a:ext cx="28" cy="28"/>
            </a:xfrm>
            <a:custGeom>
              <a:avLst/>
              <a:gdLst>
                <a:gd name="T0" fmla="*/ 2 w 28"/>
                <a:gd name="T1" fmla="*/ 9 h 28"/>
                <a:gd name="T2" fmla="*/ 0 w 28"/>
                <a:gd name="T3" fmla="*/ 20 h 28"/>
                <a:gd name="T4" fmla="*/ 18 w 28"/>
                <a:gd name="T5" fmla="*/ 28 h 28"/>
                <a:gd name="T6" fmla="*/ 28 w 28"/>
                <a:gd name="T7" fmla="*/ 17 h 28"/>
                <a:gd name="T8" fmla="*/ 11 w 28"/>
                <a:gd name="T9" fmla="*/ 0 h 28"/>
                <a:gd name="T10" fmla="*/ 2 w 28"/>
                <a:gd name="T11" fmla="*/ 9 h 28"/>
                <a:gd name="T12" fmla="*/ 2 w 28"/>
                <a:gd name="T13" fmla="*/ 9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28">
                  <a:moveTo>
                    <a:pt x="2" y="9"/>
                  </a:moveTo>
                  <a:lnTo>
                    <a:pt x="0" y="20"/>
                  </a:lnTo>
                  <a:lnTo>
                    <a:pt x="18" y="28"/>
                  </a:lnTo>
                  <a:lnTo>
                    <a:pt x="28" y="17"/>
                  </a:lnTo>
                  <a:lnTo>
                    <a:pt x="11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2" name="Freeform 177">
              <a:extLst>
                <a:ext uri="{FF2B5EF4-FFF2-40B4-BE49-F238E27FC236}">
                  <a16:creationId xmlns:a16="http://schemas.microsoft.com/office/drawing/2014/main" xmlns="" id="{FDA826EF-F865-4C99-9A81-246151F08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5" y="2480"/>
              <a:ext cx="39" cy="80"/>
            </a:xfrm>
            <a:custGeom>
              <a:avLst/>
              <a:gdLst>
                <a:gd name="T0" fmla="*/ 4 w 39"/>
                <a:gd name="T1" fmla="*/ 0 h 80"/>
                <a:gd name="T2" fmla="*/ 0 w 39"/>
                <a:gd name="T3" fmla="*/ 52 h 80"/>
                <a:gd name="T4" fmla="*/ 20 w 39"/>
                <a:gd name="T5" fmla="*/ 80 h 80"/>
                <a:gd name="T6" fmla="*/ 39 w 39"/>
                <a:gd name="T7" fmla="*/ 71 h 80"/>
                <a:gd name="T8" fmla="*/ 35 w 39"/>
                <a:gd name="T9" fmla="*/ 19 h 80"/>
                <a:gd name="T10" fmla="*/ 20 w 39"/>
                <a:gd name="T11" fmla="*/ 4 h 80"/>
                <a:gd name="T12" fmla="*/ 4 w 39"/>
                <a:gd name="T13" fmla="*/ 0 h 80"/>
                <a:gd name="T14" fmla="*/ 4 w 39"/>
                <a:gd name="T1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80">
                  <a:moveTo>
                    <a:pt x="4" y="0"/>
                  </a:moveTo>
                  <a:lnTo>
                    <a:pt x="0" y="52"/>
                  </a:lnTo>
                  <a:lnTo>
                    <a:pt x="20" y="80"/>
                  </a:lnTo>
                  <a:lnTo>
                    <a:pt x="39" y="71"/>
                  </a:lnTo>
                  <a:lnTo>
                    <a:pt x="35" y="19"/>
                  </a:lnTo>
                  <a:lnTo>
                    <a:pt x="20" y="4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3" name="Freeform 178">
              <a:extLst>
                <a:ext uri="{FF2B5EF4-FFF2-40B4-BE49-F238E27FC236}">
                  <a16:creationId xmlns:a16="http://schemas.microsoft.com/office/drawing/2014/main" xmlns="" id="{F4C8AD7C-54BF-4EC6-961B-9853E98E2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2597"/>
              <a:ext cx="37" cy="39"/>
            </a:xfrm>
            <a:custGeom>
              <a:avLst/>
              <a:gdLst>
                <a:gd name="T0" fmla="*/ 2 w 37"/>
                <a:gd name="T1" fmla="*/ 0 h 39"/>
                <a:gd name="T2" fmla="*/ 0 w 37"/>
                <a:gd name="T3" fmla="*/ 19 h 39"/>
                <a:gd name="T4" fmla="*/ 8 w 37"/>
                <a:gd name="T5" fmla="*/ 39 h 39"/>
                <a:gd name="T6" fmla="*/ 32 w 37"/>
                <a:gd name="T7" fmla="*/ 28 h 39"/>
                <a:gd name="T8" fmla="*/ 37 w 37"/>
                <a:gd name="T9" fmla="*/ 15 h 39"/>
                <a:gd name="T10" fmla="*/ 2 w 37"/>
                <a:gd name="T11" fmla="*/ 0 h 39"/>
                <a:gd name="T12" fmla="*/ 2 w 37"/>
                <a:gd name="T13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9">
                  <a:moveTo>
                    <a:pt x="2" y="0"/>
                  </a:moveTo>
                  <a:lnTo>
                    <a:pt x="0" y="19"/>
                  </a:lnTo>
                  <a:lnTo>
                    <a:pt x="8" y="39"/>
                  </a:lnTo>
                  <a:lnTo>
                    <a:pt x="32" y="28"/>
                  </a:lnTo>
                  <a:lnTo>
                    <a:pt x="37" y="15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4" name="Freeform 179">
              <a:extLst>
                <a:ext uri="{FF2B5EF4-FFF2-40B4-BE49-F238E27FC236}">
                  <a16:creationId xmlns:a16="http://schemas.microsoft.com/office/drawing/2014/main" xmlns="" id="{08AE51A1-855C-46D7-B71C-29951B5BBC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0" y="2748"/>
              <a:ext cx="30" cy="37"/>
            </a:xfrm>
            <a:custGeom>
              <a:avLst/>
              <a:gdLst>
                <a:gd name="T0" fmla="*/ 10 w 30"/>
                <a:gd name="T1" fmla="*/ 0 h 37"/>
                <a:gd name="T2" fmla="*/ 0 w 30"/>
                <a:gd name="T3" fmla="*/ 18 h 37"/>
                <a:gd name="T4" fmla="*/ 15 w 30"/>
                <a:gd name="T5" fmla="*/ 37 h 37"/>
                <a:gd name="T6" fmla="*/ 30 w 30"/>
                <a:gd name="T7" fmla="*/ 22 h 37"/>
                <a:gd name="T8" fmla="*/ 19 w 30"/>
                <a:gd name="T9" fmla="*/ 3 h 37"/>
                <a:gd name="T10" fmla="*/ 10 w 30"/>
                <a:gd name="T11" fmla="*/ 0 h 37"/>
                <a:gd name="T12" fmla="*/ 10 w 30"/>
                <a:gd name="T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7">
                  <a:moveTo>
                    <a:pt x="10" y="0"/>
                  </a:moveTo>
                  <a:lnTo>
                    <a:pt x="0" y="18"/>
                  </a:lnTo>
                  <a:lnTo>
                    <a:pt x="15" y="37"/>
                  </a:lnTo>
                  <a:lnTo>
                    <a:pt x="30" y="22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5" name="Freeform 180">
              <a:extLst>
                <a:ext uri="{FF2B5EF4-FFF2-40B4-BE49-F238E27FC236}">
                  <a16:creationId xmlns:a16="http://schemas.microsoft.com/office/drawing/2014/main" xmlns="" id="{84403D2D-3B71-4FD7-8D3E-B24814951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" y="2829"/>
              <a:ext cx="27" cy="32"/>
            </a:xfrm>
            <a:custGeom>
              <a:avLst/>
              <a:gdLst>
                <a:gd name="T0" fmla="*/ 0 w 27"/>
                <a:gd name="T1" fmla="*/ 17 h 32"/>
                <a:gd name="T2" fmla="*/ 9 w 27"/>
                <a:gd name="T3" fmla="*/ 32 h 32"/>
                <a:gd name="T4" fmla="*/ 22 w 27"/>
                <a:gd name="T5" fmla="*/ 28 h 32"/>
                <a:gd name="T6" fmla="*/ 27 w 27"/>
                <a:gd name="T7" fmla="*/ 4 h 32"/>
                <a:gd name="T8" fmla="*/ 9 w 27"/>
                <a:gd name="T9" fmla="*/ 0 h 32"/>
                <a:gd name="T10" fmla="*/ 0 w 27"/>
                <a:gd name="T11" fmla="*/ 17 h 32"/>
                <a:gd name="T12" fmla="*/ 0 w 27"/>
                <a:gd name="T13" fmla="*/ 1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32">
                  <a:moveTo>
                    <a:pt x="0" y="17"/>
                  </a:moveTo>
                  <a:lnTo>
                    <a:pt x="9" y="32"/>
                  </a:lnTo>
                  <a:lnTo>
                    <a:pt x="22" y="28"/>
                  </a:lnTo>
                  <a:lnTo>
                    <a:pt x="27" y="4"/>
                  </a:lnTo>
                  <a:lnTo>
                    <a:pt x="9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6" name="Freeform 181">
              <a:extLst>
                <a:ext uri="{FF2B5EF4-FFF2-40B4-BE49-F238E27FC236}">
                  <a16:creationId xmlns:a16="http://schemas.microsoft.com/office/drawing/2014/main" xmlns="" id="{32014CF5-0274-441D-B192-1A13FC4C06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8" y="2885"/>
              <a:ext cx="44" cy="43"/>
            </a:xfrm>
            <a:custGeom>
              <a:avLst/>
              <a:gdLst>
                <a:gd name="T0" fmla="*/ 13 w 44"/>
                <a:gd name="T1" fmla="*/ 0 h 43"/>
                <a:gd name="T2" fmla="*/ 0 w 44"/>
                <a:gd name="T3" fmla="*/ 15 h 43"/>
                <a:gd name="T4" fmla="*/ 11 w 44"/>
                <a:gd name="T5" fmla="*/ 43 h 43"/>
                <a:gd name="T6" fmla="*/ 44 w 44"/>
                <a:gd name="T7" fmla="*/ 35 h 43"/>
                <a:gd name="T8" fmla="*/ 33 w 44"/>
                <a:gd name="T9" fmla="*/ 6 h 43"/>
                <a:gd name="T10" fmla="*/ 13 w 44"/>
                <a:gd name="T11" fmla="*/ 0 h 43"/>
                <a:gd name="T12" fmla="*/ 13 w 44"/>
                <a:gd name="T13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3">
                  <a:moveTo>
                    <a:pt x="13" y="0"/>
                  </a:moveTo>
                  <a:lnTo>
                    <a:pt x="0" y="15"/>
                  </a:lnTo>
                  <a:lnTo>
                    <a:pt x="11" y="43"/>
                  </a:lnTo>
                  <a:lnTo>
                    <a:pt x="44" y="35"/>
                  </a:lnTo>
                  <a:lnTo>
                    <a:pt x="33" y="6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" name="Freeform 182">
              <a:extLst>
                <a:ext uri="{FF2B5EF4-FFF2-40B4-BE49-F238E27FC236}">
                  <a16:creationId xmlns:a16="http://schemas.microsoft.com/office/drawing/2014/main" xmlns="" id="{5F69C278-F722-4811-8BC3-1351C379D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4" y="3004"/>
              <a:ext cx="33" cy="100"/>
            </a:xfrm>
            <a:custGeom>
              <a:avLst/>
              <a:gdLst>
                <a:gd name="T0" fmla="*/ 18 w 33"/>
                <a:gd name="T1" fmla="*/ 0 h 100"/>
                <a:gd name="T2" fmla="*/ 0 w 33"/>
                <a:gd name="T3" fmla="*/ 15 h 100"/>
                <a:gd name="T4" fmla="*/ 2 w 33"/>
                <a:gd name="T5" fmla="*/ 48 h 100"/>
                <a:gd name="T6" fmla="*/ 2 w 33"/>
                <a:gd name="T7" fmla="*/ 82 h 100"/>
                <a:gd name="T8" fmla="*/ 2 w 33"/>
                <a:gd name="T9" fmla="*/ 100 h 100"/>
                <a:gd name="T10" fmla="*/ 20 w 33"/>
                <a:gd name="T11" fmla="*/ 100 h 100"/>
                <a:gd name="T12" fmla="*/ 33 w 33"/>
                <a:gd name="T13" fmla="*/ 61 h 100"/>
                <a:gd name="T14" fmla="*/ 31 w 33"/>
                <a:gd name="T15" fmla="*/ 22 h 100"/>
                <a:gd name="T16" fmla="*/ 18 w 33"/>
                <a:gd name="T17" fmla="*/ 0 h 100"/>
                <a:gd name="T18" fmla="*/ 18 w 33"/>
                <a:gd name="T19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100">
                  <a:moveTo>
                    <a:pt x="18" y="0"/>
                  </a:moveTo>
                  <a:lnTo>
                    <a:pt x="0" y="15"/>
                  </a:lnTo>
                  <a:lnTo>
                    <a:pt x="2" y="48"/>
                  </a:lnTo>
                  <a:lnTo>
                    <a:pt x="2" y="82"/>
                  </a:lnTo>
                  <a:lnTo>
                    <a:pt x="2" y="100"/>
                  </a:lnTo>
                  <a:lnTo>
                    <a:pt x="20" y="100"/>
                  </a:lnTo>
                  <a:lnTo>
                    <a:pt x="33" y="61"/>
                  </a:lnTo>
                  <a:lnTo>
                    <a:pt x="31" y="22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8" name="Freeform 183">
              <a:extLst>
                <a:ext uri="{FF2B5EF4-FFF2-40B4-BE49-F238E27FC236}">
                  <a16:creationId xmlns:a16="http://schemas.microsoft.com/office/drawing/2014/main" xmlns="" id="{AF31DCF9-7279-4F79-B897-B4174E8302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" y="3134"/>
              <a:ext cx="53" cy="141"/>
            </a:xfrm>
            <a:custGeom>
              <a:avLst/>
              <a:gdLst>
                <a:gd name="T0" fmla="*/ 31 w 53"/>
                <a:gd name="T1" fmla="*/ 0 h 141"/>
                <a:gd name="T2" fmla="*/ 48 w 53"/>
                <a:gd name="T3" fmla="*/ 0 h 141"/>
                <a:gd name="T4" fmla="*/ 53 w 53"/>
                <a:gd name="T5" fmla="*/ 22 h 141"/>
                <a:gd name="T6" fmla="*/ 39 w 53"/>
                <a:gd name="T7" fmla="*/ 41 h 141"/>
                <a:gd name="T8" fmla="*/ 24 w 53"/>
                <a:gd name="T9" fmla="*/ 63 h 141"/>
                <a:gd name="T10" fmla="*/ 22 w 53"/>
                <a:gd name="T11" fmla="*/ 87 h 141"/>
                <a:gd name="T12" fmla="*/ 18 w 53"/>
                <a:gd name="T13" fmla="*/ 119 h 141"/>
                <a:gd name="T14" fmla="*/ 15 w 53"/>
                <a:gd name="T15" fmla="*/ 141 h 141"/>
                <a:gd name="T16" fmla="*/ 7 w 53"/>
                <a:gd name="T17" fmla="*/ 139 h 141"/>
                <a:gd name="T18" fmla="*/ 2 w 53"/>
                <a:gd name="T19" fmla="*/ 98 h 141"/>
                <a:gd name="T20" fmla="*/ 0 w 53"/>
                <a:gd name="T21" fmla="*/ 48 h 141"/>
                <a:gd name="T22" fmla="*/ 20 w 53"/>
                <a:gd name="T23" fmla="*/ 26 h 141"/>
                <a:gd name="T24" fmla="*/ 33 w 53"/>
                <a:gd name="T25" fmla="*/ 15 h 141"/>
                <a:gd name="T26" fmla="*/ 31 w 53"/>
                <a:gd name="T27" fmla="*/ 0 h 141"/>
                <a:gd name="T28" fmla="*/ 31 w 53"/>
                <a:gd name="T2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141">
                  <a:moveTo>
                    <a:pt x="31" y="0"/>
                  </a:moveTo>
                  <a:lnTo>
                    <a:pt x="48" y="0"/>
                  </a:lnTo>
                  <a:lnTo>
                    <a:pt x="53" y="22"/>
                  </a:lnTo>
                  <a:lnTo>
                    <a:pt x="39" y="41"/>
                  </a:lnTo>
                  <a:lnTo>
                    <a:pt x="24" y="63"/>
                  </a:lnTo>
                  <a:lnTo>
                    <a:pt x="22" y="87"/>
                  </a:lnTo>
                  <a:lnTo>
                    <a:pt x="18" y="119"/>
                  </a:lnTo>
                  <a:lnTo>
                    <a:pt x="15" y="141"/>
                  </a:lnTo>
                  <a:lnTo>
                    <a:pt x="7" y="139"/>
                  </a:lnTo>
                  <a:lnTo>
                    <a:pt x="2" y="98"/>
                  </a:lnTo>
                  <a:lnTo>
                    <a:pt x="0" y="48"/>
                  </a:lnTo>
                  <a:lnTo>
                    <a:pt x="20" y="26"/>
                  </a:lnTo>
                  <a:lnTo>
                    <a:pt x="33" y="15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184">
              <a:extLst>
                <a:ext uri="{FF2B5EF4-FFF2-40B4-BE49-F238E27FC236}">
                  <a16:creationId xmlns:a16="http://schemas.microsoft.com/office/drawing/2014/main" xmlns="" id="{DFDBA841-F71D-4AE4-89F4-CC8EBC7B8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" y="3305"/>
              <a:ext cx="37" cy="98"/>
            </a:xfrm>
            <a:custGeom>
              <a:avLst/>
              <a:gdLst>
                <a:gd name="T0" fmla="*/ 13 w 37"/>
                <a:gd name="T1" fmla="*/ 98 h 98"/>
                <a:gd name="T2" fmla="*/ 21 w 37"/>
                <a:gd name="T3" fmla="*/ 93 h 98"/>
                <a:gd name="T4" fmla="*/ 26 w 37"/>
                <a:gd name="T5" fmla="*/ 35 h 98"/>
                <a:gd name="T6" fmla="*/ 35 w 37"/>
                <a:gd name="T7" fmla="*/ 22 h 98"/>
                <a:gd name="T8" fmla="*/ 37 w 37"/>
                <a:gd name="T9" fmla="*/ 7 h 98"/>
                <a:gd name="T10" fmla="*/ 26 w 37"/>
                <a:gd name="T11" fmla="*/ 0 h 98"/>
                <a:gd name="T12" fmla="*/ 11 w 37"/>
                <a:gd name="T13" fmla="*/ 9 h 98"/>
                <a:gd name="T14" fmla="*/ 0 w 37"/>
                <a:gd name="T15" fmla="*/ 15 h 98"/>
                <a:gd name="T16" fmla="*/ 8 w 37"/>
                <a:gd name="T17" fmla="*/ 41 h 98"/>
                <a:gd name="T18" fmla="*/ 6 w 37"/>
                <a:gd name="T19" fmla="*/ 74 h 98"/>
                <a:gd name="T20" fmla="*/ 13 w 37"/>
                <a:gd name="T21" fmla="*/ 98 h 98"/>
                <a:gd name="T22" fmla="*/ 13 w 37"/>
                <a:gd name="T23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" h="98">
                  <a:moveTo>
                    <a:pt x="13" y="98"/>
                  </a:moveTo>
                  <a:lnTo>
                    <a:pt x="21" y="93"/>
                  </a:lnTo>
                  <a:lnTo>
                    <a:pt x="26" y="35"/>
                  </a:lnTo>
                  <a:lnTo>
                    <a:pt x="35" y="22"/>
                  </a:lnTo>
                  <a:lnTo>
                    <a:pt x="37" y="7"/>
                  </a:lnTo>
                  <a:lnTo>
                    <a:pt x="26" y="0"/>
                  </a:lnTo>
                  <a:lnTo>
                    <a:pt x="11" y="9"/>
                  </a:lnTo>
                  <a:lnTo>
                    <a:pt x="0" y="15"/>
                  </a:lnTo>
                  <a:lnTo>
                    <a:pt x="8" y="41"/>
                  </a:lnTo>
                  <a:lnTo>
                    <a:pt x="6" y="74"/>
                  </a:lnTo>
                  <a:lnTo>
                    <a:pt x="13" y="98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Freeform 185">
              <a:extLst>
                <a:ext uri="{FF2B5EF4-FFF2-40B4-BE49-F238E27FC236}">
                  <a16:creationId xmlns:a16="http://schemas.microsoft.com/office/drawing/2014/main" xmlns="" id="{23D0385B-92E1-44D1-9A42-BE7EEA34FFB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6" y="3318"/>
              <a:ext cx="22" cy="37"/>
            </a:xfrm>
            <a:custGeom>
              <a:avLst/>
              <a:gdLst>
                <a:gd name="T0" fmla="*/ 0 w 22"/>
                <a:gd name="T1" fmla="*/ 24 h 37"/>
                <a:gd name="T2" fmla="*/ 4 w 22"/>
                <a:gd name="T3" fmla="*/ 37 h 37"/>
                <a:gd name="T4" fmla="*/ 22 w 22"/>
                <a:gd name="T5" fmla="*/ 31 h 37"/>
                <a:gd name="T6" fmla="*/ 17 w 22"/>
                <a:gd name="T7" fmla="*/ 13 h 37"/>
                <a:gd name="T8" fmla="*/ 9 w 22"/>
                <a:gd name="T9" fmla="*/ 0 h 37"/>
                <a:gd name="T10" fmla="*/ 0 w 22"/>
                <a:gd name="T11" fmla="*/ 11 h 37"/>
                <a:gd name="T12" fmla="*/ 0 w 22"/>
                <a:gd name="T13" fmla="*/ 24 h 37"/>
                <a:gd name="T14" fmla="*/ 0 w 22"/>
                <a:gd name="T15" fmla="*/ 2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37">
                  <a:moveTo>
                    <a:pt x="0" y="24"/>
                  </a:moveTo>
                  <a:lnTo>
                    <a:pt x="4" y="37"/>
                  </a:lnTo>
                  <a:lnTo>
                    <a:pt x="22" y="31"/>
                  </a:lnTo>
                  <a:lnTo>
                    <a:pt x="17" y="13"/>
                  </a:lnTo>
                  <a:lnTo>
                    <a:pt x="9" y="0"/>
                  </a:lnTo>
                  <a:lnTo>
                    <a:pt x="0" y="11"/>
                  </a:lnTo>
                  <a:lnTo>
                    <a:pt x="0" y="24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1" name="Freeform 186">
              <a:extLst>
                <a:ext uri="{FF2B5EF4-FFF2-40B4-BE49-F238E27FC236}">
                  <a16:creationId xmlns:a16="http://schemas.microsoft.com/office/drawing/2014/main" xmlns="" id="{276D01D4-B6B6-412F-A27E-223FD02CB5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22" y="1617"/>
              <a:ext cx="57" cy="98"/>
            </a:xfrm>
            <a:custGeom>
              <a:avLst/>
              <a:gdLst>
                <a:gd name="T0" fmla="*/ 14 w 57"/>
                <a:gd name="T1" fmla="*/ 0 h 98"/>
                <a:gd name="T2" fmla="*/ 0 w 57"/>
                <a:gd name="T3" fmla="*/ 41 h 98"/>
                <a:gd name="T4" fmla="*/ 51 w 57"/>
                <a:gd name="T5" fmla="*/ 98 h 98"/>
                <a:gd name="T6" fmla="*/ 57 w 57"/>
                <a:gd name="T7" fmla="*/ 15 h 98"/>
                <a:gd name="T8" fmla="*/ 29 w 57"/>
                <a:gd name="T9" fmla="*/ 5 h 98"/>
                <a:gd name="T10" fmla="*/ 14 w 57"/>
                <a:gd name="T11" fmla="*/ 0 h 98"/>
                <a:gd name="T12" fmla="*/ 14 w 57"/>
                <a:gd name="T1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98">
                  <a:moveTo>
                    <a:pt x="14" y="0"/>
                  </a:moveTo>
                  <a:lnTo>
                    <a:pt x="0" y="41"/>
                  </a:lnTo>
                  <a:lnTo>
                    <a:pt x="51" y="98"/>
                  </a:lnTo>
                  <a:lnTo>
                    <a:pt x="57" y="15"/>
                  </a:lnTo>
                  <a:lnTo>
                    <a:pt x="29" y="5"/>
                  </a:lnTo>
                  <a:lnTo>
                    <a:pt x="14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2" name="Freeform 187">
              <a:extLst>
                <a:ext uri="{FF2B5EF4-FFF2-40B4-BE49-F238E27FC236}">
                  <a16:creationId xmlns:a16="http://schemas.microsoft.com/office/drawing/2014/main" xmlns="" id="{543A9CBA-3B28-4AE7-9572-B14D118BC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7" y="1758"/>
              <a:ext cx="85" cy="37"/>
            </a:xfrm>
            <a:custGeom>
              <a:avLst/>
              <a:gdLst>
                <a:gd name="T0" fmla="*/ 0 w 85"/>
                <a:gd name="T1" fmla="*/ 9 h 37"/>
                <a:gd name="T2" fmla="*/ 15 w 85"/>
                <a:gd name="T3" fmla="*/ 28 h 37"/>
                <a:gd name="T4" fmla="*/ 65 w 85"/>
                <a:gd name="T5" fmla="*/ 37 h 37"/>
                <a:gd name="T6" fmla="*/ 85 w 85"/>
                <a:gd name="T7" fmla="*/ 26 h 37"/>
                <a:gd name="T8" fmla="*/ 72 w 85"/>
                <a:gd name="T9" fmla="*/ 4 h 37"/>
                <a:gd name="T10" fmla="*/ 35 w 85"/>
                <a:gd name="T11" fmla="*/ 0 h 37"/>
                <a:gd name="T12" fmla="*/ 0 w 85"/>
                <a:gd name="T13" fmla="*/ 9 h 37"/>
                <a:gd name="T14" fmla="*/ 0 w 85"/>
                <a:gd name="T15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5" h="37">
                  <a:moveTo>
                    <a:pt x="0" y="9"/>
                  </a:moveTo>
                  <a:lnTo>
                    <a:pt x="15" y="28"/>
                  </a:lnTo>
                  <a:lnTo>
                    <a:pt x="65" y="37"/>
                  </a:lnTo>
                  <a:lnTo>
                    <a:pt x="85" y="26"/>
                  </a:lnTo>
                  <a:lnTo>
                    <a:pt x="72" y="4"/>
                  </a:lnTo>
                  <a:lnTo>
                    <a:pt x="35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3" name="Freeform 188">
              <a:extLst>
                <a:ext uri="{FF2B5EF4-FFF2-40B4-BE49-F238E27FC236}">
                  <a16:creationId xmlns:a16="http://schemas.microsoft.com/office/drawing/2014/main" xmlns="" id="{D3F9AA10-62FD-4C45-A29E-98CBA9283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5" y="1372"/>
              <a:ext cx="658" cy="839"/>
            </a:xfrm>
            <a:custGeom>
              <a:avLst/>
              <a:gdLst>
                <a:gd name="T0" fmla="*/ 327 w 658"/>
                <a:gd name="T1" fmla="*/ 819 h 839"/>
                <a:gd name="T2" fmla="*/ 375 w 658"/>
                <a:gd name="T3" fmla="*/ 796 h 839"/>
                <a:gd name="T4" fmla="*/ 416 w 658"/>
                <a:gd name="T5" fmla="*/ 722 h 839"/>
                <a:gd name="T6" fmla="*/ 490 w 658"/>
                <a:gd name="T7" fmla="*/ 687 h 839"/>
                <a:gd name="T8" fmla="*/ 488 w 658"/>
                <a:gd name="T9" fmla="*/ 746 h 839"/>
                <a:gd name="T10" fmla="*/ 534 w 658"/>
                <a:gd name="T11" fmla="*/ 642 h 839"/>
                <a:gd name="T12" fmla="*/ 593 w 658"/>
                <a:gd name="T13" fmla="*/ 594 h 839"/>
                <a:gd name="T14" fmla="*/ 543 w 658"/>
                <a:gd name="T15" fmla="*/ 603 h 839"/>
                <a:gd name="T16" fmla="*/ 510 w 658"/>
                <a:gd name="T17" fmla="*/ 464 h 839"/>
                <a:gd name="T18" fmla="*/ 497 w 658"/>
                <a:gd name="T19" fmla="*/ 343 h 839"/>
                <a:gd name="T20" fmla="*/ 562 w 658"/>
                <a:gd name="T21" fmla="*/ 282 h 839"/>
                <a:gd name="T22" fmla="*/ 623 w 658"/>
                <a:gd name="T23" fmla="*/ 315 h 839"/>
                <a:gd name="T24" fmla="*/ 658 w 658"/>
                <a:gd name="T25" fmla="*/ 284 h 839"/>
                <a:gd name="T26" fmla="*/ 643 w 658"/>
                <a:gd name="T27" fmla="*/ 198 h 839"/>
                <a:gd name="T28" fmla="*/ 608 w 658"/>
                <a:gd name="T29" fmla="*/ 178 h 839"/>
                <a:gd name="T30" fmla="*/ 602 w 658"/>
                <a:gd name="T31" fmla="*/ 146 h 839"/>
                <a:gd name="T32" fmla="*/ 547 w 658"/>
                <a:gd name="T33" fmla="*/ 128 h 839"/>
                <a:gd name="T34" fmla="*/ 545 w 658"/>
                <a:gd name="T35" fmla="*/ 128 h 839"/>
                <a:gd name="T36" fmla="*/ 495 w 658"/>
                <a:gd name="T37" fmla="*/ 68 h 839"/>
                <a:gd name="T38" fmla="*/ 493 w 658"/>
                <a:gd name="T39" fmla="*/ 68 h 839"/>
                <a:gd name="T40" fmla="*/ 414 w 658"/>
                <a:gd name="T41" fmla="*/ 35 h 839"/>
                <a:gd name="T42" fmla="*/ 412 w 658"/>
                <a:gd name="T43" fmla="*/ 35 h 839"/>
                <a:gd name="T44" fmla="*/ 338 w 658"/>
                <a:gd name="T45" fmla="*/ 65 h 839"/>
                <a:gd name="T46" fmla="*/ 336 w 658"/>
                <a:gd name="T47" fmla="*/ 65 h 839"/>
                <a:gd name="T48" fmla="*/ 255 w 658"/>
                <a:gd name="T49" fmla="*/ 72 h 839"/>
                <a:gd name="T50" fmla="*/ 251 w 658"/>
                <a:gd name="T51" fmla="*/ 72 h 839"/>
                <a:gd name="T52" fmla="*/ 205 w 658"/>
                <a:gd name="T53" fmla="*/ 33 h 839"/>
                <a:gd name="T54" fmla="*/ 222 w 658"/>
                <a:gd name="T55" fmla="*/ 70 h 839"/>
                <a:gd name="T56" fmla="*/ 201 w 658"/>
                <a:gd name="T57" fmla="*/ 100 h 839"/>
                <a:gd name="T58" fmla="*/ 201 w 658"/>
                <a:gd name="T59" fmla="*/ 100 h 839"/>
                <a:gd name="T60" fmla="*/ 118 w 658"/>
                <a:gd name="T61" fmla="*/ 163 h 839"/>
                <a:gd name="T62" fmla="*/ 142 w 658"/>
                <a:gd name="T63" fmla="*/ 193 h 839"/>
                <a:gd name="T64" fmla="*/ 118 w 658"/>
                <a:gd name="T65" fmla="*/ 217 h 839"/>
                <a:gd name="T66" fmla="*/ 137 w 658"/>
                <a:gd name="T67" fmla="*/ 243 h 839"/>
                <a:gd name="T68" fmla="*/ 137 w 658"/>
                <a:gd name="T69" fmla="*/ 276 h 839"/>
                <a:gd name="T70" fmla="*/ 168 w 658"/>
                <a:gd name="T71" fmla="*/ 304 h 839"/>
                <a:gd name="T72" fmla="*/ 164 w 658"/>
                <a:gd name="T73" fmla="*/ 356 h 839"/>
                <a:gd name="T74" fmla="*/ 164 w 658"/>
                <a:gd name="T75" fmla="*/ 358 h 839"/>
                <a:gd name="T76" fmla="*/ 135 w 658"/>
                <a:gd name="T77" fmla="*/ 388 h 839"/>
                <a:gd name="T78" fmla="*/ 89 w 658"/>
                <a:gd name="T79" fmla="*/ 393 h 839"/>
                <a:gd name="T80" fmla="*/ 61 w 658"/>
                <a:gd name="T81" fmla="*/ 477 h 839"/>
                <a:gd name="T82" fmla="*/ 59 w 658"/>
                <a:gd name="T83" fmla="*/ 479 h 839"/>
                <a:gd name="T84" fmla="*/ 0 w 658"/>
                <a:gd name="T85" fmla="*/ 555 h 839"/>
                <a:gd name="T86" fmla="*/ 111 w 658"/>
                <a:gd name="T87" fmla="*/ 689 h 839"/>
                <a:gd name="T88" fmla="*/ 113 w 658"/>
                <a:gd name="T89" fmla="*/ 689 h 839"/>
                <a:gd name="T90" fmla="*/ 196 w 658"/>
                <a:gd name="T91" fmla="*/ 718 h 839"/>
                <a:gd name="T92" fmla="*/ 205 w 658"/>
                <a:gd name="T93" fmla="*/ 763 h 839"/>
                <a:gd name="T94" fmla="*/ 205 w 658"/>
                <a:gd name="T95" fmla="*/ 763 h 839"/>
                <a:gd name="T96" fmla="*/ 201 w 658"/>
                <a:gd name="T97" fmla="*/ 828 h 839"/>
                <a:gd name="T98" fmla="*/ 231 w 658"/>
                <a:gd name="T99" fmla="*/ 804 h 839"/>
                <a:gd name="T100" fmla="*/ 275 w 658"/>
                <a:gd name="T101" fmla="*/ 804 h 839"/>
                <a:gd name="T102" fmla="*/ 277 w 658"/>
                <a:gd name="T103" fmla="*/ 804 h 839"/>
                <a:gd name="T104" fmla="*/ 296 w 658"/>
                <a:gd name="T105" fmla="*/ 8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8" h="839">
                  <a:moveTo>
                    <a:pt x="296" y="839"/>
                  </a:moveTo>
                  <a:lnTo>
                    <a:pt x="327" y="819"/>
                  </a:lnTo>
                  <a:lnTo>
                    <a:pt x="347" y="802"/>
                  </a:lnTo>
                  <a:lnTo>
                    <a:pt x="375" y="796"/>
                  </a:lnTo>
                  <a:lnTo>
                    <a:pt x="366" y="739"/>
                  </a:lnTo>
                  <a:lnTo>
                    <a:pt x="416" y="722"/>
                  </a:lnTo>
                  <a:lnTo>
                    <a:pt x="456" y="689"/>
                  </a:lnTo>
                  <a:lnTo>
                    <a:pt x="490" y="687"/>
                  </a:lnTo>
                  <a:lnTo>
                    <a:pt x="464" y="724"/>
                  </a:lnTo>
                  <a:lnTo>
                    <a:pt x="488" y="746"/>
                  </a:lnTo>
                  <a:lnTo>
                    <a:pt x="525" y="705"/>
                  </a:lnTo>
                  <a:lnTo>
                    <a:pt x="534" y="642"/>
                  </a:lnTo>
                  <a:lnTo>
                    <a:pt x="567" y="629"/>
                  </a:lnTo>
                  <a:lnTo>
                    <a:pt x="593" y="594"/>
                  </a:lnTo>
                  <a:lnTo>
                    <a:pt x="567" y="575"/>
                  </a:lnTo>
                  <a:lnTo>
                    <a:pt x="543" y="603"/>
                  </a:lnTo>
                  <a:lnTo>
                    <a:pt x="519" y="579"/>
                  </a:lnTo>
                  <a:lnTo>
                    <a:pt x="510" y="464"/>
                  </a:lnTo>
                  <a:lnTo>
                    <a:pt x="488" y="395"/>
                  </a:lnTo>
                  <a:lnTo>
                    <a:pt x="497" y="343"/>
                  </a:lnTo>
                  <a:lnTo>
                    <a:pt x="538" y="284"/>
                  </a:lnTo>
                  <a:lnTo>
                    <a:pt x="562" y="282"/>
                  </a:lnTo>
                  <a:lnTo>
                    <a:pt x="573" y="247"/>
                  </a:lnTo>
                  <a:lnTo>
                    <a:pt x="623" y="315"/>
                  </a:lnTo>
                  <a:lnTo>
                    <a:pt x="656" y="310"/>
                  </a:lnTo>
                  <a:lnTo>
                    <a:pt x="658" y="284"/>
                  </a:lnTo>
                  <a:lnTo>
                    <a:pt x="652" y="234"/>
                  </a:lnTo>
                  <a:lnTo>
                    <a:pt x="643" y="198"/>
                  </a:lnTo>
                  <a:lnTo>
                    <a:pt x="610" y="180"/>
                  </a:lnTo>
                  <a:lnTo>
                    <a:pt x="608" y="178"/>
                  </a:lnTo>
                  <a:lnTo>
                    <a:pt x="608" y="178"/>
                  </a:lnTo>
                  <a:lnTo>
                    <a:pt x="602" y="146"/>
                  </a:lnTo>
                  <a:lnTo>
                    <a:pt x="580" y="126"/>
                  </a:lnTo>
                  <a:lnTo>
                    <a:pt x="547" y="128"/>
                  </a:lnTo>
                  <a:lnTo>
                    <a:pt x="545" y="128"/>
                  </a:lnTo>
                  <a:lnTo>
                    <a:pt x="545" y="128"/>
                  </a:lnTo>
                  <a:lnTo>
                    <a:pt x="523" y="74"/>
                  </a:lnTo>
                  <a:lnTo>
                    <a:pt x="495" y="68"/>
                  </a:lnTo>
                  <a:lnTo>
                    <a:pt x="495" y="68"/>
                  </a:lnTo>
                  <a:lnTo>
                    <a:pt x="493" y="68"/>
                  </a:lnTo>
                  <a:lnTo>
                    <a:pt x="447" y="0"/>
                  </a:lnTo>
                  <a:lnTo>
                    <a:pt x="414" y="35"/>
                  </a:lnTo>
                  <a:lnTo>
                    <a:pt x="414" y="35"/>
                  </a:lnTo>
                  <a:lnTo>
                    <a:pt x="412" y="35"/>
                  </a:lnTo>
                  <a:lnTo>
                    <a:pt x="366" y="37"/>
                  </a:lnTo>
                  <a:lnTo>
                    <a:pt x="338" y="65"/>
                  </a:lnTo>
                  <a:lnTo>
                    <a:pt x="336" y="65"/>
                  </a:lnTo>
                  <a:lnTo>
                    <a:pt x="336" y="65"/>
                  </a:lnTo>
                  <a:lnTo>
                    <a:pt x="296" y="52"/>
                  </a:lnTo>
                  <a:lnTo>
                    <a:pt x="255" y="72"/>
                  </a:lnTo>
                  <a:lnTo>
                    <a:pt x="253" y="74"/>
                  </a:lnTo>
                  <a:lnTo>
                    <a:pt x="251" y="72"/>
                  </a:lnTo>
                  <a:lnTo>
                    <a:pt x="231" y="37"/>
                  </a:lnTo>
                  <a:lnTo>
                    <a:pt x="205" y="33"/>
                  </a:lnTo>
                  <a:lnTo>
                    <a:pt x="222" y="68"/>
                  </a:lnTo>
                  <a:lnTo>
                    <a:pt x="222" y="70"/>
                  </a:lnTo>
                  <a:lnTo>
                    <a:pt x="222" y="7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201" y="100"/>
                  </a:lnTo>
                  <a:lnTo>
                    <a:pt x="174" y="111"/>
                  </a:lnTo>
                  <a:lnTo>
                    <a:pt x="118" y="163"/>
                  </a:lnTo>
                  <a:lnTo>
                    <a:pt x="142" y="193"/>
                  </a:lnTo>
                  <a:lnTo>
                    <a:pt x="142" y="193"/>
                  </a:lnTo>
                  <a:lnTo>
                    <a:pt x="142" y="195"/>
                  </a:lnTo>
                  <a:lnTo>
                    <a:pt x="118" y="217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43"/>
                  </a:lnTo>
                  <a:lnTo>
                    <a:pt x="137" y="276"/>
                  </a:lnTo>
                  <a:lnTo>
                    <a:pt x="168" y="302"/>
                  </a:lnTo>
                  <a:lnTo>
                    <a:pt x="168" y="304"/>
                  </a:lnTo>
                  <a:lnTo>
                    <a:pt x="168" y="304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8"/>
                  </a:lnTo>
                  <a:lnTo>
                    <a:pt x="137" y="388"/>
                  </a:lnTo>
                  <a:lnTo>
                    <a:pt x="135" y="388"/>
                  </a:lnTo>
                  <a:lnTo>
                    <a:pt x="135" y="388"/>
                  </a:lnTo>
                  <a:lnTo>
                    <a:pt x="89" y="393"/>
                  </a:lnTo>
                  <a:lnTo>
                    <a:pt x="42" y="438"/>
                  </a:lnTo>
                  <a:lnTo>
                    <a:pt x="61" y="477"/>
                  </a:lnTo>
                  <a:lnTo>
                    <a:pt x="61" y="477"/>
                  </a:lnTo>
                  <a:lnTo>
                    <a:pt x="59" y="479"/>
                  </a:lnTo>
                  <a:lnTo>
                    <a:pt x="7" y="516"/>
                  </a:lnTo>
                  <a:lnTo>
                    <a:pt x="0" y="555"/>
                  </a:lnTo>
                  <a:lnTo>
                    <a:pt x="76" y="713"/>
                  </a:lnTo>
                  <a:lnTo>
                    <a:pt x="111" y="689"/>
                  </a:lnTo>
                  <a:lnTo>
                    <a:pt x="113" y="689"/>
                  </a:lnTo>
                  <a:lnTo>
                    <a:pt x="113" y="689"/>
                  </a:lnTo>
                  <a:lnTo>
                    <a:pt x="194" y="715"/>
                  </a:lnTo>
                  <a:lnTo>
                    <a:pt x="196" y="718"/>
                  </a:lnTo>
                  <a:lnTo>
                    <a:pt x="196" y="718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205" y="763"/>
                  </a:lnTo>
                  <a:lnTo>
                    <a:pt x="185" y="798"/>
                  </a:lnTo>
                  <a:lnTo>
                    <a:pt x="201" y="828"/>
                  </a:lnTo>
                  <a:lnTo>
                    <a:pt x="231" y="804"/>
                  </a:lnTo>
                  <a:lnTo>
                    <a:pt x="231" y="804"/>
                  </a:lnTo>
                  <a:lnTo>
                    <a:pt x="233" y="804"/>
                  </a:lnTo>
                  <a:lnTo>
                    <a:pt x="275" y="804"/>
                  </a:lnTo>
                  <a:lnTo>
                    <a:pt x="275" y="804"/>
                  </a:lnTo>
                  <a:lnTo>
                    <a:pt x="277" y="804"/>
                  </a:lnTo>
                  <a:lnTo>
                    <a:pt x="296" y="839"/>
                  </a:lnTo>
                  <a:lnTo>
                    <a:pt x="296" y="8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4" name="Freeform 189">
              <a:extLst>
                <a:ext uri="{FF2B5EF4-FFF2-40B4-BE49-F238E27FC236}">
                  <a16:creationId xmlns:a16="http://schemas.microsoft.com/office/drawing/2014/main" xmlns="" id="{84D22B54-8586-49C0-9B79-71331EF314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" y="3316"/>
              <a:ext cx="355" cy="637"/>
            </a:xfrm>
            <a:custGeom>
              <a:avLst/>
              <a:gdLst>
                <a:gd name="T0" fmla="*/ 105 w 355"/>
                <a:gd name="T1" fmla="*/ 269 h 637"/>
                <a:gd name="T2" fmla="*/ 100 w 355"/>
                <a:gd name="T3" fmla="*/ 399 h 637"/>
                <a:gd name="T4" fmla="*/ 124 w 355"/>
                <a:gd name="T5" fmla="*/ 440 h 637"/>
                <a:gd name="T6" fmla="*/ 30 w 355"/>
                <a:gd name="T7" fmla="*/ 449 h 637"/>
                <a:gd name="T8" fmla="*/ 0 w 355"/>
                <a:gd name="T9" fmla="*/ 516 h 637"/>
                <a:gd name="T10" fmla="*/ 87 w 355"/>
                <a:gd name="T11" fmla="*/ 603 h 637"/>
                <a:gd name="T12" fmla="*/ 89 w 355"/>
                <a:gd name="T13" fmla="*/ 637 h 637"/>
                <a:gd name="T14" fmla="*/ 137 w 355"/>
                <a:gd name="T15" fmla="*/ 592 h 637"/>
                <a:gd name="T16" fmla="*/ 220 w 355"/>
                <a:gd name="T17" fmla="*/ 592 h 637"/>
                <a:gd name="T18" fmla="*/ 279 w 355"/>
                <a:gd name="T19" fmla="*/ 544 h 637"/>
                <a:gd name="T20" fmla="*/ 314 w 355"/>
                <a:gd name="T21" fmla="*/ 475 h 637"/>
                <a:gd name="T22" fmla="*/ 331 w 355"/>
                <a:gd name="T23" fmla="*/ 282 h 637"/>
                <a:gd name="T24" fmla="*/ 355 w 355"/>
                <a:gd name="T25" fmla="*/ 182 h 637"/>
                <a:gd name="T26" fmla="*/ 338 w 355"/>
                <a:gd name="T27" fmla="*/ 63 h 637"/>
                <a:gd name="T28" fmla="*/ 316 w 355"/>
                <a:gd name="T29" fmla="*/ 56 h 637"/>
                <a:gd name="T30" fmla="*/ 314 w 355"/>
                <a:gd name="T31" fmla="*/ 56 h 637"/>
                <a:gd name="T32" fmla="*/ 314 w 355"/>
                <a:gd name="T33" fmla="*/ 56 h 637"/>
                <a:gd name="T34" fmla="*/ 307 w 355"/>
                <a:gd name="T35" fmla="*/ 28 h 637"/>
                <a:gd name="T36" fmla="*/ 270 w 355"/>
                <a:gd name="T37" fmla="*/ 0 h 637"/>
                <a:gd name="T38" fmla="*/ 227 w 355"/>
                <a:gd name="T39" fmla="*/ 33 h 637"/>
                <a:gd name="T40" fmla="*/ 251 w 355"/>
                <a:gd name="T41" fmla="*/ 61 h 637"/>
                <a:gd name="T42" fmla="*/ 292 w 355"/>
                <a:gd name="T43" fmla="*/ 63 h 637"/>
                <a:gd name="T44" fmla="*/ 294 w 355"/>
                <a:gd name="T45" fmla="*/ 63 h 637"/>
                <a:gd name="T46" fmla="*/ 294 w 355"/>
                <a:gd name="T47" fmla="*/ 65 h 637"/>
                <a:gd name="T48" fmla="*/ 285 w 355"/>
                <a:gd name="T49" fmla="*/ 130 h 637"/>
                <a:gd name="T50" fmla="*/ 285 w 355"/>
                <a:gd name="T51" fmla="*/ 132 h 637"/>
                <a:gd name="T52" fmla="*/ 283 w 355"/>
                <a:gd name="T53" fmla="*/ 132 h 637"/>
                <a:gd name="T54" fmla="*/ 255 w 355"/>
                <a:gd name="T55" fmla="*/ 132 h 637"/>
                <a:gd name="T56" fmla="*/ 259 w 355"/>
                <a:gd name="T57" fmla="*/ 173 h 637"/>
                <a:gd name="T58" fmla="*/ 259 w 355"/>
                <a:gd name="T59" fmla="*/ 173 h 637"/>
                <a:gd name="T60" fmla="*/ 257 w 355"/>
                <a:gd name="T61" fmla="*/ 176 h 637"/>
                <a:gd name="T62" fmla="*/ 216 w 355"/>
                <a:gd name="T63" fmla="*/ 204 h 637"/>
                <a:gd name="T64" fmla="*/ 216 w 355"/>
                <a:gd name="T65" fmla="*/ 204 h 637"/>
                <a:gd name="T66" fmla="*/ 213 w 355"/>
                <a:gd name="T67" fmla="*/ 204 h 637"/>
                <a:gd name="T68" fmla="*/ 146 w 355"/>
                <a:gd name="T69" fmla="*/ 208 h 637"/>
                <a:gd name="T70" fmla="*/ 128 w 355"/>
                <a:gd name="T71" fmla="*/ 230 h 637"/>
                <a:gd name="T72" fmla="*/ 142 w 355"/>
                <a:gd name="T73" fmla="*/ 258 h 637"/>
                <a:gd name="T74" fmla="*/ 144 w 355"/>
                <a:gd name="T75" fmla="*/ 260 h 637"/>
                <a:gd name="T76" fmla="*/ 139 w 355"/>
                <a:gd name="T77" fmla="*/ 260 h 637"/>
                <a:gd name="T78" fmla="*/ 105 w 355"/>
                <a:gd name="T79" fmla="*/ 269 h 637"/>
                <a:gd name="T80" fmla="*/ 105 w 355"/>
                <a:gd name="T81" fmla="*/ 269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55" h="637">
                  <a:moveTo>
                    <a:pt x="105" y="269"/>
                  </a:moveTo>
                  <a:lnTo>
                    <a:pt x="100" y="399"/>
                  </a:lnTo>
                  <a:lnTo>
                    <a:pt x="124" y="440"/>
                  </a:lnTo>
                  <a:lnTo>
                    <a:pt x="30" y="449"/>
                  </a:lnTo>
                  <a:lnTo>
                    <a:pt x="0" y="516"/>
                  </a:lnTo>
                  <a:lnTo>
                    <a:pt x="87" y="603"/>
                  </a:lnTo>
                  <a:lnTo>
                    <a:pt x="89" y="637"/>
                  </a:lnTo>
                  <a:lnTo>
                    <a:pt x="137" y="592"/>
                  </a:lnTo>
                  <a:lnTo>
                    <a:pt x="220" y="592"/>
                  </a:lnTo>
                  <a:lnTo>
                    <a:pt x="279" y="544"/>
                  </a:lnTo>
                  <a:lnTo>
                    <a:pt x="314" y="475"/>
                  </a:lnTo>
                  <a:lnTo>
                    <a:pt x="331" y="282"/>
                  </a:lnTo>
                  <a:lnTo>
                    <a:pt x="355" y="182"/>
                  </a:lnTo>
                  <a:lnTo>
                    <a:pt x="338" y="63"/>
                  </a:lnTo>
                  <a:lnTo>
                    <a:pt x="316" y="56"/>
                  </a:lnTo>
                  <a:lnTo>
                    <a:pt x="314" y="56"/>
                  </a:lnTo>
                  <a:lnTo>
                    <a:pt x="314" y="56"/>
                  </a:lnTo>
                  <a:lnTo>
                    <a:pt x="307" y="28"/>
                  </a:lnTo>
                  <a:lnTo>
                    <a:pt x="270" y="0"/>
                  </a:lnTo>
                  <a:lnTo>
                    <a:pt x="227" y="33"/>
                  </a:lnTo>
                  <a:lnTo>
                    <a:pt x="251" y="61"/>
                  </a:lnTo>
                  <a:lnTo>
                    <a:pt x="292" y="63"/>
                  </a:lnTo>
                  <a:lnTo>
                    <a:pt x="294" y="63"/>
                  </a:lnTo>
                  <a:lnTo>
                    <a:pt x="294" y="65"/>
                  </a:lnTo>
                  <a:lnTo>
                    <a:pt x="285" y="130"/>
                  </a:lnTo>
                  <a:lnTo>
                    <a:pt x="285" y="132"/>
                  </a:lnTo>
                  <a:lnTo>
                    <a:pt x="283" y="132"/>
                  </a:lnTo>
                  <a:lnTo>
                    <a:pt x="255" y="132"/>
                  </a:lnTo>
                  <a:lnTo>
                    <a:pt x="259" y="173"/>
                  </a:lnTo>
                  <a:lnTo>
                    <a:pt x="259" y="173"/>
                  </a:lnTo>
                  <a:lnTo>
                    <a:pt x="257" y="176"/>
                  </a:lnTo>
                  <a:lnTo>
                    <a:pt x="216" y="204"/>
                  </a:lnTo>
                  <a:lnTo>
                    <a:pt x="216" y="204"/>
                  </a:lnTo>
                  <a:lnTo>
                    <a:pt x="213" y="204"/>
                  </a:lnTo>
                  <a:lnTo>
                    <a:pt x="146" y="208"/>
                  </a:lnTo>
                  <a:lnTo>
                    <a:pt x="128" y="230"/>
                  </a:lnTo>
                  <a:lnTo>
                    <a:pt x="142" y="258"/>
                  </a:lnTo>
                  <a:lnTo>
                    <a:pt x="144" y="260"/>
                  </a:lnTo>
                  <a:lnTo>
                    <a:pt x="139" y="260"/>
                  </a:lnTo>
                  <a:lnTo>
                    <a:pt x="105" y="269"/>
                  </a:lnTo>
                  <a:lnTo>
                    <a:pt x="105" y="26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190">
              <a:extLst>
                <a:ext uri="{FF2B5EF4-FFF2-40B4-BE49-F238E27FC236}">
                  <a16:creationId xmlns:a16="http://schemas.microsoft.com/office/drawing/2014/main" xmlns="" id="{39DD49BF-A478-499D-9EEF-8E84FA4B5B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8" y="2066"/>
              <a:ext cx="859" cy="1515"/>
            </a:xfrm>
            <a:custGeom>
              <a:avLst/>
              <a:gdLst>
                <a:gd name="T0" fmla="*/ 597 w 859"/>
                <a:gd name="T1" fmla="*/ 1460 h 1515"/>
                <a:gd name="T2" fmla="*/ 634 w 859"/>
                <a:gd name="T3" fmla="*/ 1482 h 1515"/>
                <a:gd name="T4" fmla="*/ 654 w 859"/>
                <a:gd name="T5" fmla="*/ 1454 h 1515"/>
                <a:gd name="T6" fmla="*/ 723 w 859"/>
                <a:gd name="T7" fmla="*/ 1449 h 1515"/>
                <a:gd name="T8" fmla="*/ 758 w 859"/>
                <a:gd name="T9" fmla="*/ 1378 h 1515"/>
                <a:gd name="T10" fmla="*/ 800 w 859"/>
                <a:gd name="T11" fmla="*/ 1317 h 1515"/>
                <a:gd name="T12" fmla="*/ 758 w 859"/>
                <a:gd name="T13" fmla="*/ 1313 h 1515"/>
                <a:gd name="T14" fmla="*/ 732 w 859"/>
                <a:gd name="T15" fmla="*/ 1280 h 1515"/>
                <a:gd name="T16" fmla="*/ 780 w 859"/>
                <a:gd name="T17" fmla="*/ 1246 h 1515"/>
                <a:gd name="T18" fmla="*/ 822 w 859"/>
                <a:gd name="T19" fmla="*/ 1276 h 1515"/>
                <a:gd name="T20" fmla="*/ 859 w 859"/>
                <a:gd name="T21" fmla="*/ 1176 h 1515"/>
                <a:gd name="T22" fmla="*/ 756 w 859"/>
                <a:gd name="T23" fmla="*/ 975 h 1515"/>
                <a:gd name="T24" fmla="*/ 719 w 859"/>
                <a:gd name="T25" fmla="*/ 845 h 1515"/>
                <a:gd name="T26" fmla="*/ 667 w 859"/>
                <a:gd name="T27" fmla="*/ 773 h 1515"/>
                <a:gd name="T28" fmla="*/ 497 w 859"/>
                <a:gd name="T29" fmla="*/ 776 h 1515"/>
                <a:gd name="T30" fmla="*/ 423 w 859"/>
                <a:gd name="T31" fmla="*/ 871 h 1515"/>
                <a:gd name="T32" fmla="*/ 305 w 859"/>
                <a:gd name="T33" fmla="*/ 825 h 1515"/>
                <a:gd name="T34" fmla="*/ 377 w 859"/>
                <a:gd name="T35" fmla="*/ 513 h 1515"/>
                <a:gd name="T36" fmla="*/ 397 w 859"/>
                <a:gd name="T37" fmla="*/ 344 h 1515"/>
                <a:gd name="T38" fmla="*/ 540 w 859"/>
                <a:gd name="T39" fmla="*/ 188 h 1515"/>
                <a:gd name="T40" fmla="*/ 549 w 859"/>
                <a:gd name="T41" fmla="*/ 147 h 1515"/>
                <a:gd name="T42" fmla="*/ 458 w 859"/>
                <a:gd name="T43" fmla="*/ 138 h 1515"/>
                <a:gd name="T44" fmla="*/ 438 w 859"/>
                <a:gd name="T45" fmla="*/ 106 h 1515"/>
                <a:gd name="T46" fmla="*/ 458 w 859"/>
                <a:gd name="T47" fmla="*/ 69 h 1515"/>
                <a:gd name="T48" fmla="*/ 333 w 859"/>
                <a:gd name="T49" fmla="*/ 24 h 1515"/>
                <a:gd name="T50" fmla="*/ 325 w 859"/>
                <a:gd name="T51" fmla="*/ 56 h 1515"/>
                <a:gd name="T52" fmla="*/ 261 w 859"/>
                <a:gd name="T53" fmla="*/ 89 h 1515"/>
                <a:gd name="T54" fmla="*/ 220 w 859"/>
                <a:gd name="T55" fmla="*/ 97 h 1515"/>
                <a:gd name="T56" fmla="*/ 142 w 859"/>
                <a:gd name="T57" fmla="*/ 97 h 1515"/>
                <a:gd name="T58" fmla="*/ 174 w 859"/>
                <a:gd name="T59" fmla="*/ 184 h 1515"/>
                <a:gd name="T60" fmla="*/ 185 w 859"/>
                <a:gd name="T61" fmla="*/ 288 h 1515"/>
                <a:gd name="T62" fmla="*/ 207 w 859"/>
                <a:gd name="T63" fmla="*/ 360 h 1515"/>
                <a:gd name="T64" fmla="*/ 181 w 859"/>
                <a:gd name="T65" fmla="*/ 405 h 1515"/>
                <a:gd name="T66" fmla="*/ 168 w 859"/>
                <a:gd name="T67" fmla="*/ 440 h 1515"/>
                <a:gd name="T68" fmla="*/ 113 w 859"/>
                <a:gd name="T69" fmla="*/ 444 h 1515"/>
                <a:gd name="T70" fmla="*/ 109 w 859"/>
                <a:gd name="T71" fmla="*/ 485 h 1515"/>
                <a:gd name="T72" fmla="*/ 22 w 859"/>
                <a:gd name="T73" fmla="*/ 622 h 1515"/>
                <a:gd name="T74" fmla="*/ 46 w 859"/>
                <a:gd name="T75" fmla="*/ 676 h 1515"/>
                <a:gd name="T76" fmla="*/ 22 w 859"/>
                <a:gd name="T77" fmla="*/ 726 h 1515"/>
                <a:gd name="T78" fmla="*/ 67 w 859"/>
                <a:gd name="T79" fmla="*/ 756 h 1515"/>
                <a:gd name="T80" fmla="*/ 78 w 859"/>
                <a:gd name="T81" fmla="*/ 784 h 1515"/>
                <a:gd name="T82" fmla="*/ 142 w 859"/>
                <a:gd name="T83" fmla="*/ 821 h 1515"/>
                <a:gd name="T84" fmla="*/ 168 w 859"/>
                <a:gd name="T85" fmla="*/ 847 h 1515"/>
                <a:gd name="T86" fmla="*/ 133 w 859"/>
                <a:gd name="T87" fmla="*/ 925 h 1515"/>
                <a:gd name="T88" fmla="*/ 137 w 859"/>
                <a:gd name="T89" fmla="*/ 964 h 1515"/>
                <a:gd name="T90" fmla="*/ 170 w 859"/>
                <a:gd name="T91" fmla="*/ 1007 h 1515"/>
                <a:gd name="T92" fmla="*/ 200 w 859"/>
                <a:gd name="T93" fmla="*/ 1049 h 1515"/>
                <a:gd name="T94" fmla="*/ 285 w 859"/>
                <a:gd name="T95" fmla="*/ 971 h 1515"/>
                <a:gd name="T96" fmla="*/ 322 w 859"/>
                <a:gd name="T97" fmla="*/ 968 h 1515"/>
                <a:gd name="T98" fmla="*/ 336 w 859"/>
                <a:gd name="T99" fmla="*/ 947 h 1515"/>
                <a:gd name="T100" fmla="*/ 364 w 859"/>
                <a:gd name="T101" fmla="*/ 951 h 1515"/>
                <a:gd name="T102" fmla="*/ 386 w 859"/>
                <a:gd name="T103" fmla="*/ 1025 h 1515"/>
                <a:gd name="T104" fmla="*/ 368 w 859"/>
                <a:gd name="T105" fmla="*/ 1042 h 1515"/>
                <a:gd name="T106" fmla="*/ 327 w 859"/>
                <a:gd name="T107" fmla="*/ 1083 h 1515"/>
                <a:gd name="T108" fmla="*/ 296 w 859"/>
                <a:gd name="T109" fmla="*/ 1142 h 1515"/>
                <a:gd name="T110" fmla="*/ 261 w 859"/>
                <a:gd name="T111" fmla="*/ 1183 h 1515"/>
                <a:gd name="T112" fmla="*/ 277 w 859"/>
                <a:gd name="T113" fmla="*/ 1202 h 1515"/>
                <a:gd name="T114" fmla="*/ 316 w 859"/>
                <a:gd name="T115" fmla="*/ 1300 h 1515"/>
                <a:gd name="T116" fmla="*/ 366 w 859"/>
                <a:gd name="T117" fmla="*/ 1369 h 1515"/>
                <a:gd name="T118" fmla="*/ 399 w 859"/>
                <a:gd name="T119" fmla="*/ 1341 h 1515"/>
                <a:gd name="T120" fmla="*/ 466 w 859"/>
                <a:gd name="T121" fmla="*/ 1341 h 1515"/>
                <a:gd name="T122" fmla="*/ 588 w 859"/>
                <a:gd name="T123" fmla="*/ 1335 h 1515"/>
                <a:gd name="T124" fmla="*/ 577 w 859"/>
                <a:gd name="T125" fmla="*/ 1376 h 15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9" h="1515">
                  <a:moveTo>
                    <a:pt x="577" y="1376"/>
                  </a:moveTo>
                  <a:lnTo>
                    <a:pt x="608" y="1426"/>
                  </a:lnTo>
                  <a:lnTo>
                    <a:pt x="597" y="1460"/>
                  </a:lnTo>
                  <a:lnTo>
                    <a:pt x="615" y="1515"/>
                  </a:lnTo>
                  <a:lnTo>
                    <a:pt x="647" y="1506"/>
                  </a:lnTo>
                  <a:lnTo>
                    <a:pt x="634" y="1482"/>
                  </a:lnTo>
                  <a:lnTo>
                    <a:pt x="634" y="1480"/>
                  </a:lnTo>
                  <a:lnTo>
                    <a:pt x="634" y="1480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654" y="1454"/>
                  </a:lnTo>
                  <a:lnTo>
                    <a:pt x="723" y="1449"/>
                  </a:lnTo>
                  <a:lnTo>
                    <a:pt x="765" y="1421"/>
                  </a:lnTo>
                  <a:lnTo>
                    <a:pt x="761" y="1380"/>
                  </a:lnTo>
                  <a:lnTo>
                    <a:pt x="758" y="1378"/>
                  </a:lnTo>
                  <a:lnTo>
                    <a:pt x="763" y="1378"/>
                  </a:lnTo>
                  <a:lnTo>
                    <a:pt x="791" y="1378"/>
                  </a:lnTo>
                  <a:lnTo>
                    <a:pt x="800" y="1317"/>
                  </a:lnTo>
                  <a:lnTo>
                    <a:pt x="761" y="1315"/>
                  </a:lnTo>
                  <a:lnTo>
                    <a:pt x="761" y="1313"/>
                  </a:lnTo>
                  <a:lnTo>
                    <a:pt x="758" y="1313"/>
                  </a:lnTo>
                  <a:lnTo>
                    <a:pt x="730" y="1283"/>
                  </a:lnTo>
                  <a:lnTo>
                    <a:pt x="730" y="1283"/>
                  </a:lnTo>
                  <a:lnTo>
                    <a:pt x="732" y="1280"/>
                  </a:lnTo>
                  <a:lnTo>
                    <a:pt x="778" y="1246"/>
                  </a:lnTo>
                  <a:lnTo>
                    <a:pt x="780" y="1244"/>
                  </a:lnTo>
                  <a:lnTo>
                    <a:pt x="780" y="1246"/>
                  </a:lnTo>
                  <a:lnTo>
                    <a:pt x="822" y="1274"/>
                  </a:lnTo>
                  <a:lnTo>
                    <a:pt x="822" y="1274"/>
                  </a:lnTo>
                  <a:lnTo>
                    <a:pt x="822" y="1276"/>
                  </a:lnTo>
                  <a:lnTo>
                    <a:pt x="828" y="1304"/>
                  </a:lnTo>
                  <a:lnTo>
                    <a:pt x="848" y="1309"/>
                  </a:lnTo>
                  <a:lnTo>
                    <a:pt x="859" y="1176"/>
                  </a:lnTo>
                  <a:lnTo>
                    <a:pt x="843" y="1133"/>
                  </a:lnTo>
                  <a:lnTo>
                    <a:pt x="778" y="1001"/>
                  </a:lnTo>
                  <a:lnTo>
                    <a:pt x="756" y="975"/>
                  </a:lnTo>
                  <a:lnTo>
                    <a:pt x="737" y="880"/>
                  </a:lnTo>
                  <a:lnTo>
                    <a:pt x="723" y="849"/>
                  </a:lnTo>
                  <a:lnTo>
                    <a:pt x="719" y="845"/>
                  </a:lnTo>
                  <a:lnTo>
                    <a:pt x="669" y="823"/>
                  </a:lnTo>
                  <a:lnTo>
                    <a:pt x="654" y="804"/>
                  </a:lnTo>
                  <a:lnTo>
                    <a:pt x="667" y="773"/>
                  </a:lnTo>
                  <a:lnTo>
                    <a:pt x="632" y="760"/>
                  </a:lnTo>
                  <a:lnTo>
                    <a:pt x="556" y="745"/>
                  </a:lnTo>
                  <a:lnTo>
                    <a:pt x="497" y="776"/>
                  </a:lnTo>
                  <a:lnTo>
                    <a:pt x="475" y="867"/>
                  </a:lnTo>
                  <a:lnTo>
                    <a:pt x="451" y="834"/>
                  </a:lnTo>
                  <a:lnTo>
                    <a:pt x="423" y="871"/>
                  </a:lnTo>
                  <a:lnTo>
                    <a:pt x="399" y="802"/>
                  </a:lnTo>
                  <a:lnTo>
                    <a:pt x="349" y="832"/>
                  </a:lnTo>
                  <a:lnTo>
                    <a:pt x="305" y="825"/>
                  </a:lnTo>
                  <a:lnTo>
                    <a:pt x="307" y="786"/>
                  </a:lnTo>
                  <a:lnTo>
                    <a:pt x="364" y="650"/>
                  </a:lnTo>
                  <a:lnTo>
                    <a:pt x="377" y="513"/>
                  </a:lnTo>
                  <a:lnTo>
                    <a:pt x="392" y="448"/>
                  </a:lnTo>
                  <a:lnTo>
                    <a:pt x="379" y="394"/>
                  </a:lnTo>
                  <a:lnTo>
                    <a:pt x="397" y="344"/>
                  </a:lnTo>
                  <a:lnTo>
                    <a:pt x="390" y="292"/>
                  </a:lnTo>
                  <a:lnTo>
                    <a:pt x="503" y="182"/>
                  </a:lnTo>
                  <a:lnTo>
                    <a:pt x="540" y="188"/>
                  </a:lnTo>
                  <a:lnTo>
                    <a:pt x="545" y="175"/>
                  </a:lnTo>
                  <a:lnTo>
                    <a:pt x="534" y="158"/>
                  </a:lnTo>
                  <a:lnTo>
                    <a:pt x="549" y="147"/>
                  </a:lnTo>
                  <a:lnTo>
                    <a:pt x="530" y="115"/>
                  </a:lnTo>
                  <a:lnTo>
                    <a:pt x="490" y="115"/>
                  </a:lnTo>
                  <a:lnTo>
                    <a:pt x="458" y="138"/>
                  </a:lnTo>
                  <a:lnTo>
                    <a:pt x="455" y="141"/>
                  </a:lnTo>
                  <a:lnTo>
                    <a:pt x="453" y="13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4"/>
                  </a:lnTo>
                  <a:lnTo>
                    <a:pt x="458" y="69"/>
                  </a:lnTo>
                  <a:lnTo>
                    <a:pt x="449" y="26"/>
                  </a:lnTo>
                  <a:lnTo>
                    <a:pt x="370" y="0"/>
                  </a:lnTo>
                  <a:lnTo>
                    <a:pt x="333" y="24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325" y="56"/>
                  </a:lnTo>
                  <a:lnTo>
                    <a:pt x="277" y="63"/>
                  </a:lnTo>
                  <a:lnTo>
                    <a:pt x="264" y="89"/>
                  </a:lnTo>
                  <a:lnTo>
                    <a:pt x="261" y="89"/>
                  </a:lnTo>
                  <a:lnTo>
                    <a:pt x="261" y="89"/>
                  </a:lnTo>
                  <a:lnTo>
                    <a:pt x="220" y="97"/>
                  </a:lnTo>
                  <a:lnTo>
                    <a:pt x="220" y="97"/>
                  </a:lnTo>
                  <a:lnTo>
                    <a:pt x="218" y="97"/>
                  </a:lnTo>
                  <a:lnTo>
                    <a:pt x="157" y="76"/>
                  </a:lnTo>
                  <a:lnTo>
                    <a:pt x="142" y="97"/>
                  </a:lnTo>
                  <a:lnTo>
                    <a:pt x="174" y="182"/>
                  </a:lnTo>
                  <a:lnTo>
                    <a:pt x="174" y="182"/>
                  </a:lnTo>
                  <a:lnTo>
                    <a:pt x="174" y="184"/>
                  </a:lnTo>
                  <a:lnTo>
                    <a:pt x="150" y="264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185" y="288"/>
                  </a:lnTo>
                  <a:lnTo>
                    <a:pt x="205" y="357"/>
                  </a:lnTo>
                  <a:lnTo>
                    <a:pt x="207" y="360"/>
                  </a:lnTo>
                  <a:lnTo>
                    <a:pt x="205" y="362"/>
                  </a:lnTo>
                  <a:lnTo>
                    <a:pt x="179" y="373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81" y="405"/>
                  </a:lnTo>
                  <a:lnTo>
                    <a:pt x="168" y="440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13" y="444"/>
                  </a:lnTo>
                  <a:lnTo>
                    <a:pt x="111" y="483"/>
                  </a:lnTo>
                  <a:lnTo>
                    <a:pt x="111" y="485"/>
                  </a:lnTo>
                  <a:lnTo>
                    <a:pt x="109" y="485"/>
                  </a:lnTo>
                  <a:lnTo>
                    <a:pt x="22" y="520"/>
                  </a:lnTo>
                  <a:lnTo>
                    <a:pt x="22" y="620"/>
                  </a:lnTo>
                  <a:lnTo>
                    <a:pt x="22" y="622"/>
                  </a:lnTo>
                  <a:lnTo>
                    <a:pt x="22" y="622"/>
                  </a:lnTo>
                  <a:lnTo>
                    <a:pt x="0" y="646"/>
                  </a:lnTo>
                  <a:lnTo>
                    <a:pt x="46" y="676"/>
                  </a:lnTo>
                  <a:lnTo>
                    <a:pt x="48" y="676"/>
                  </a:lnTo>
                  <a:lnTo>
                    <a:pt x="46" y="678"/>
                  </a:lnTo>
                  <a:lnTo>
                    <a:pt x="22" y="726"/>
                  </a:lnTo>
                  <a:lnTo>
                    <a:pt x="67" y="754"/>
                  </a:lnTo>
                  <a:lnTo>
                    <a:pt x="67" y="754"/>
                  </a:lnTo>
                  <a:lnTo>
                    <a:pt x="67" y="756"/>
                  </a:lnTo>
                  <a:lnTo>
                    <a:pt x="78" y="782"/>
                  </a:lnTo>
                  <a:lnTo>
                    <a:pt x="78" y="782"/>
                  </a:lnTo>
                  <a:lnTo>
                    <a:pt x="78" y="784"/>
                  </a:lnTo>
                  <a:lnTo>
                    <a:pt x="54" y="810"/>
                  </a:lnTo>
                  <a:lnTo>
                    <a:pt x="72" y="858"/>
                  </a:lnTo>
                  <a:lnTo>
                    <a:pt x="142" y="821"/>
                  </a:lnTo>
                  <a:lnTo>
                    <a:pt x="144" y="821"/>
                  </a:lnTo>
                  <a:lnTo>
                    <a:pt x="146" y="821"/>
                  </a:lnTo>
                  <a:lnTo>
                    <a:pt x="168" y="847"/>
                  </a:lnTo>
                  <a:lnTo>
                    <a:pt x="170" y="849"/>
                  </a:lnTo>
                  <a:lnTo>
                    <a:pt x="170" y="849"/>
                  </a:lnTo>
                  <a:lnTo>
                    <a:pt x="133" y="925"/>
                  </a:lnTo>
                  <a:lnTo>
                    <a:pt x="137" y="962"/>
                  </a:lnTo>
                  <a:lnTo>
                    <a:pt x="137" y="962"/>
                  </a:lnTo>
                  <a:lnTo>
                    <a:pt x="137" y="964"/>
                  </a:lnTo>
                  <a:lnTo>
                    <a:pt x="111" y="979"/>
                  </a:lnTo>
                  <a:lnTo>
                    <a:pt x="111" y="1007"/>
                  </a:lnTo>
                  <a:lnTo>
                    <a:pt x="170" y="1007"/>
                  </a:lnTo>
                  <a:lnTo>
                    <a:pt x="172" y="1007"/>
                  </a:lnTo>
                  <a:lnTo>
                    <a:pt x="172" y="1010"/>
                  </a:lnTo>
                  <a:lnTo>
                    <a:pt x="200" y="1049"/>
                  </a:lnTo>
                  <a:lnTo>
                    <a:pt x="229" y="1046"/>
                  </a:lnTo>
                  <a:lnTo>
                    <a:pt x="277" y="1003"/>
                  </a:lnTo>
                  <a:lnTo>
                    <a:pt x="285" y="971"/>
                  </a:lnTo>
                  <a:lnTo>
                    <a:pt x="285" y="968"/>
                  </a:lnTo>
                  <a:lnTo>
                    <a:pt x="288" y="968"/>
                  </a:lnTo>
                  <a:lnTo>
                    <a:pt x="322" y="968"/>
                  </a:lnTo>
                  <a:lnTo>
                    <a:pt x="333" y="947"/>
                  </a:lnTo>
                  <a:lnTo>
                    <a:pt x="333" y="947"/>
                  </a:lnTo>
                  <a:lnTo>
                    <a:pt x="336" y="947"/>
                  </a:lnTo>
                  <a:lnTo>
                    <a:pt x="362" y="949"/>
                  </a:lnTo>
                  <a:lnTo>
                    <a:pt x="362" y="951"/>
                  </a:lnTo>
                  <a:lnTo>
                    <a:pt x="364" y="951"/>
                  </a:lnTo>
                  <a:lnTo>
                    <a:pt x="386" y="1023"/>
                  </a:lnTo>
                  <a:lnTo>
                    <a:pt x="388" y="1025"/>
                  </a:lnTo>
                  <a:lnTo>
                    <a:pt x="386" y="1025"/>
                  </a:lnTo>
                  <a:lnTo>
                    <a:pt x="370" y="1042"/>
                  </a:lnTo>
                  <a:lnTo>
                    <a:pt x="370" y="1042"/>
                  </a:lnTo>
                  <a:lnTo>
                    <a:pt x="368" y="1042"/>
                  </a:lnTo>
                  <a:lnTo>
                    <a:pt x="312" y="1051"/>
                  </a:lnTo>
                  <a:lnTo>
                    <a:pt x="325" y="1081"/>
                  </a:lnTo>
                  <a:lnTo>
                    <a:pt x="327" y="1083"/>
                  </a:lnTo>
                  <a:lnTo>
                    <a:pt x="325" y="1083"/>
                  </a:lnTo>
                  <a:lnTo>
                    <a:pt x="303" y="1109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96" y="1142"/>
                  </a:lnTo>
                  <a:lnTo>
                    <a:pt x="261" y="1183"/>
                  </a:lnTo>
                  <a:lnTo>
                    <a:pt x="277" y="1200"/>
                  </a:lnTo>
                  <a:lnTo>
                    <a:pt x="277" y="1202"/>
                  </a:lnTo>
                  <a:lnTo>
                    <a:pt x="277" y="1202"/>
                  </a:lnTo>
                  <a:lnTo>
                    <a:pt x="253" y="1233"/>
                  </a:lnTo>
                  <a:lnTo>
                    <a:pt x="253" y="1270"/>
                  </a:lnTo>
                  <a:lnTo>
                    <a:pt x="316" y="1300"/>
                  </a:lnTo>
                  <a:lnTo>
                    <a:pt x="316" y="1302"/>
                  </a:lnTo>
                  <a:lnTo>
                    <a:pt x="316" y="1302"/>
                  </a:lnTo>
                  <a:lnTo>
                    <a:pt x="366" y="1369"/>
                  </a:lnTo>
                  <a:lnTo>
                    <a:pt x="397" y="1341"/>
                  </a:lnTo>
                  <a:lnTo>
                    <a:pt x="397" y="1339"/>
                  </a:lnTo>
                  <a:lnTo>
                    <a:pt x="399" y="1341"/>
                  </a:lnTo>
                  <a:lnTo>
                    <a:pt x="464" y="1341"/>
                  </a:lnTo>
                  <a:lnTo>
                    <a:pt x="464" y="1341"/>
                  </a:lnTo>
                  <a:lnTo>
                    <a:pt x="466" y="1341"/>
                  </a:lnTo>
                  <a:lnTo>
                    <a:pt x="495" y="1365"/>
                  </a:lnTo>
                  <a:lnTo>
                    <a:pt x="584" y="1335"/>
                  </a:lnTo>
                  <a:lnTo>
                    <a:pt x="588" y="1335"/>
                  </a:lnTo>
                  <a:lnTo>
                    <a:pt x="586" y="1339"/>
                  </a:lnTo>
                  <a:lnTo>
                    <a:pt x="577" y="1376"/>
                  </a:lnTo>
                  <a:lnTo>
                    <a:pt x="577" y="137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6" name="Freeform 191">
              <a:extLst>
                <a:ext uri="{FF2B5EF4-FFF2-40B4-BE49-F238E27FC236}">
                  <a16:creationId xmlns:a16="http://schemas.microsoft.com/office/drawing/2014/main" xmlns="" id="{66BBC9AD-64AF-4616-9D5C-421D0162B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3" y="3407"/>
              <a:ext cx="257" cy="180"/>
            </a:xfrm>
            <a:custGeom>
              <a:avLst/>
              <a:gdLst>
                <a:gd name="T0" fmla="*/ 0 w 257"/>
                <a:gd name="T1" fmla="*/ 95 h 180"/>
                <a:gd name="T2" fmla="*/ 35 w 257"/>
                <a:gd name="T3" fmla="*/ 150 h 180"/>
                <a:gd name="T4" fmla="*/ 72 w 257"/>
                <a:gd name="T5" fmla="*/ 180 h 180"/>
                <a:gd name="T6" fmla="*/ 148 w 257"/>
                <a:gd name="T7" fmla="*/ 143 h 180"/>
                <a:gd name="T8" fmla="*/ 159 w 257"/>
                <a:gd name="T9" fmla="*/ 113 h 180"/>
                <a:gd name="T10" fmla="*/ 215 w 257"/>
                <a:gd name="T11" fmla="*/ 48 h 180"/>
                <a:gd name="T12" fmla="*/ 248 w 257"/>
                <a:gd name="T13" fmla="*/ 33 h 180"/>
                <a:gd name="T14" fmla="*/ 257 w 257"/>
                <a:gd name="T15" fmla="*/ 0 h 180"/>
                <a:gd name="T16" fmla="*/ 170 w 257"/>
                <a:gd name="T17" fmla="*/ 28 h 180"/>
                <a:gd name="T18" fmla="*/ 170 w 257"/>
                <a:gd name="T19" fmla="*/ 28 h 180"/>
                <a:gd name="T20" fmla="*/ 167 w 257"/>
                <a:gd name="T21" fmla="*/ 28 h 180"/>
                <a:gd name="T22" fmla="*/ 139 w 257"/>
                <a:gd name="T23" fmla="*/ 4 h 180"/>
                <a:gd name="T24" fmla="*/ 74 w 257"/>
                <a:gd name="T25" fmla="*/ 2 h 180"/>
                <a:gd name="T26" fmla="*/ 41 w 257"/>
                <a:gd name="T27" fmla="*/ 33 h 180"/>
                <a:gd name="T28" fmla="*/ 0 w 257"/>
                <a:gd name="T29" fmla="*/ 95 h 180"/>
                <a:gd name="T30" fmla="*/ 0 w 257"/>
                <a:gd name="T31" fmla="*/ 95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57" h="180">
                  <a:moveTo>
                    <a:pt x="0" y="95"/>
                  </a:moveTo>
                  <a:lnTo>
                    <a:pt x="35" y="150"/>
                  </a:lnTo>
                  <a:lnTo>
                    <a:pt x="72" y="180"/>
                  </a:lnTo>
                  <a:lnTo>
                    <a:pt x="148" y="143"/>
                  </a:lnTo>
                  <a:lnTo>
                    <a:pt x="159" y="113"/>
                  </a:lnTo>
                  <a:lnTo>
                    <a:pt x="215" y="48"/>
                  </a:lnTo>
                  <a:lnTo>
                    <a:pt x="248" y="33"/>
                  </a:lnTo>
                  <a:lnTo>
                    <a:pt x="257" y="0"/>
                  </a:lnTo>
                  <a:lnTo>
                    <a:pt x="170" y="28"/>
                  </a:lnTo>
                  <a:lnTo>
                    <a:pt x="170" y="28"/>
                  </a:lnTo>
                  <a:lnTo>
                    <a:pt x="167" y="28"/>
                  </a:lnTo>
                  <a:lnTo>
                    <a:pt x="139" y="4"/>
                  </a:lnTo>
                  <a:lnTo>
                    <a:pt x="74" y="2"/>
                  </a:lnTo>
                  <a:lnTo>
                    <a:pt x="41" y="33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7" name="Freeform 192">
              <a:extLst>
                <a:ext uri="{FF2B5EF4-FFF2-40B4-BE49-F238E27FC236}">
                  <a16:creationId xmlns:a16="http://schemas.microsoft.com/office/drawing/2014/main" xmlns="" id="{203E09F9-C8B0-4B2B-91F6-184F4787E6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" y="2891"/>
              <a:ext cx="889" cy="616"/>
            </a:xfrm>
            <a:custGeom>
              <a:avLst/>
              <a:gdLst>
                <a:gd name="T0" fmla="*/ 292 w 889"/>
                <a:gd name="T1" fmla="*/ 371 h 616"/>
                <a:gd name="T2" fmla="*/ 423 w 889"/>
                <a:gd name="T3" fmla="*/ 380 h 616"/>
                <a:gd name="T4" fmla="*/ 656 w 889"/>
                <a:gd name="T5" fmla="*/ 616 h 616"/>
                <a:gd name="T6" fmla="*/ 739 w 889"/>
                <a:gd name="T7" fmla="*/ 611 h 616"/>
                <a:gd name="T8" fmla="*/ 807 w 889"/>
                <a:gd name="T9" fmla="*/ 614 h 616"/>
                <a:gd name="T10" fmla="*/ 870 w 889"/>
                <a:gd name="T11" fmla="*/ 549 h 616"/>
                <a:gd name="T12" fmla="*/ 759 w 889"/>
                <a:gd name="T13" fmla="*/ 449 h 616"/>
                <a:gd name="T14" fmla="*/ 756 w 889"/>
                <a:gd name="T15" fmla="*/ 447 h 616"/>
                <a:gd name="T16" fmla="*/ 756 w 889"/>
                <a:gd name="T17" fmla="*/ 408 h 616"/>
                <a:gd name="T18" fmla="*/ 780 w 889"/>
                <a:gd name="T19" fmla="*/ 377 h 616"/>
                <a:gd name="T20" fmla="*/ 765 w 889"/>
                <a:gd name="T21" fmla="*/ 358 h 616"/>
                <a:gd name="T22" fmla="*/ 800 w 889"/>
                <a:gd name="T23" fmla="*/ 315 h 616"/>
                <a:gd name="T24" fmla="*/ 807 w 889"/>
                <a:gd name="T25" fmla="*/ 282 h 616"/>
                <a:gd name="T26" fmla="*/ 828 w 889"/>
                <a:gd name="T27" fmla="*/ 256 h 616"/>
                <a:gd name="T28" fmla="*/ 813 w 889"/>
                <a:gd name="T29" fmla="*/ 224 h 616"/>
                <a:gd name="T30" fmla="*/ 876 w 889"/>
                <a:gd name="T31" fmla="*/ 213 h 616"/>
                <a:gd name="T32" fmla="*/ 868 w 889"/>
                <a:gd name="T33" fmla="*/ 128 h 616"/>
                <a:gd name="T34" fmla="*/ 833 w 889"/>
                <a:gd name="T35" fmla="*/ 148 h 616"/>
                <a:gd name="T36" fmla="*/ 833 w 889"/>
                <a:gd name="T37" fmla="*/ 148 h 616"/>
                <a:gd name="T38" fmla="*/ 789 w 889"/>
                <a:gd name="T39" fmla="*/ 180 h 616"/>
                <a:gd name="T40" fmla="*/ 789 w 889"/>
                <a:gd name="T41" fmla="*/ 180 h 616"/>
                <a:gd name="T42" fmla="*/ 739 w 889"/>
                <a:gd name="T43" fmla="*/ 226 h 616"/>
                <a:gd name="T44" fmla="*/ 706 w 889"/>
                <a:gd name="T45" fmla="*/ 228 h 616"/>
                <a:gd name="T46" fmla="*/ 704 w 889"/>
                <a:gd name="T47" fmla="*/ 228 h 616"/>
                <a:gd name="T48" fmla="*/ 619 w 889"/>
                <a:gd name="T49" fmla="*/ 187 h 616"/>
                <a:gd name="T50" fmla="*/ 617 w 889"/>
                <a:gd name="T51" fmla="*/ 185 h 616"/>
                <a:gd name="T52" fmla="*/ 615 w 889"/>
                <a:gd name="T53" fmla="*/ 152 h 616"/>
                <a:gd name="T54" fmla="*/ 641 w 889"/>
                <a:gd name="T55" fmla="*/ 135 h 616"/>
                <a:gd name="T56" fmla="*/ 637 w 889"/>
                <a:gd name="T57" fmla="*/ 100 h 616"/>
                <a:gd name="T58" fmla="*/ 671 w 889"/>
                <a:gd name="T59" fmla="*/ 24 h 616"/>
                <a:gd name="T60" fmla="*/ 506 w 889"/>
                <a:gd name="T61" fmla="*/ 76 h 616"/>
                <a:gd name="T62" fmla="*/ 510 w 889"/>
                <a:gd name="T63" fmla="*/ 100 h 616"/>
                <a:gd name="T64" fmla="*/ 477 w 889"/>
                <a:gd name="T65" fmla="*/ 111 h 616"/>
                <a:gd name="T66" fmla="*/ 477 w 889"/>
                <a:gd name="T67" fmla="*/ 111 h 616"/>
                <a:gd name="T68" fmla="*/ 355 w 889"/>
                <a:gd name="T69" fmla="*/ 148 h 616"/>
                <a:gd name="T70" fmla="*/ 353 w 889"/>
                <a:gd name="T71" fmla="*/ 148 h 616"/>
                <a:gd name="T72" fmla="*/ 264 w 889"/>
                <a:gd name="T73" fmla="*/ 154 h 616"/>
                <a:gd name="T74" fmla="*/ 262 w 889"/>
                <a:gd name="T75" fmla="*/ 154 h 616"/>
                <a:gd name="T76" fmla="*/ 174 w 889"/>
                <a:gd name="T77" fmla="*/ 126 h 616"/>
                <a:gd name="T78" fmla="*/ 151 w 889"/>
                <a:gd name="T79" fmla="*/ 150 h 616"/>
                <a:gd name="T80" fmla="*/ 124 w 889"/>
                <a:gd name="T81" fmla="*/ 126 h 616"/>
                <a:gd name="T82" fmla="*/ 107 w 889"/>
                <a:gd name="T83" fmla="*/ 141 h 616"/>
                <a:gd name="T84" fmla="*/ 74 w 889"/>
                <a:gd name="T85" fmla="*/ 115 h 616"/>
                <a:gd name="T86" fmla="*/ 0 w 889"/>
                <a:gd name="T87" fmla="*/ 154 h 616"/>
                <a:gd name="T88" fmla="*/ 48 w 889"/>
                <a:gd name="T89" fmla="*/ 187 h 616"/>
                <a:gd name="T90" fmla="*/ 33 w 889"/>
                <a:gd name="T91" fmla="*/ 208 h 616"/>
                <a:gd name="T92" fmla="*/ 94 w 889"/>
                <a:gd name="T93" fmla="*/ 208 h 616"/>
                <a:gd name="T94" fmla="*/ 96 w 889"/>
                <a:gd name="T95" fmla="*/ 208 h 616"/>
                <a:gd name="T96" fmla="*/ 144 w 889"/>
                <a:gd name="T97" fmla="*/ 234 h 616"/>
                <a:gd name="T98" fmla="*/ 148 w 889"/>
                <a:gd name="T99" fmla="*/ 237 h 616"/>
                <a:gd name="T100" fmla="*/ 181 w 889"/>
                <a:gd name="T101" fmla="*/ 312 h 616"/>
                <a:gd name="T102" fmla="*/ 183 w 889"/>
                <a:gd name="T103" fmla="*/ 315 h 616"/>
                <a:gd name="T104" fmla="*/ 214 w 889"/>
                <a:gd name="T105" fmla="*/ 41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616">
                  <a:moveTo>
                    <a:pt x="214" y="410"/>
                  </a:moveTo>
                  <a:lnTo>
                    <a:pt x="292" y="371"/>
                  </a:lnTo>
                  <a:lnTo>
                    <a:pt x="351" y="390"/>
                  </a:lnTo>
                  <a:lnTo>
                    <a:pt x="423" y="380"/>
                  </a:lnTo>
                  <a:lnTo>
                    <a:pt x="528" y="484"/>
                  </a:lnTo>
                  <a:lnTo>
                    <a:pt x="656" y="616"/>
                  </a:lnTo>
                  <a:lnTo>
                    <a:pt x="708" y="596"/>
                  </a:lnTo>
                  <a:lnTo>
                    <a:pt x="739" y="611"/>
                  </a:lnTo>
                  <a:lnTo>
                    <a:pt x="763" y="601"/>
                  </a:lnTo>
                  <a:lnTo>
                    <a:pt x="807" y="614"/>
                  </a:lnTo>
                  <a:lnTo>
                    <a:pt x="828" y="609"/>
                  </a:lnTo>
                  <a:lnTo>
                    <a:pt x="870" y="549"/>
                  </a:lnTo>
                  <a:lnTo>
                    <a:pt x="820" y="479"/>
                  </a:lnTo>
                  <a:lnTo>
                    <a:pt x="759" y="449"/>
                  </a:lnTo>
                  <a:lnTo>
                    <a:pt x="756" y="449"/>
                  </a:lnTo>
                  <a:lnTo>
                    <a:pt x="756" y="447"/>
                  </a:lnTo>
                  <a:lnTo>
                    <a:pt x="756" y="408"/>
                  </a:lnTo>
                  <a:lnTo>
                    <a:pt x="756" y="408"/>
                  </a:lnTo>
                  <a:lnTo>
                    <a:pt x="759" y="406"/>
                  </a:lnTo>
                  <a:lnTo>
                    <a:pt x="780" y="377"/>
                  </a:lnTo>
                  <a:lnTo>
                    <a:pt x="765" y="358"/>
                  </a:lnTo>
                  <a:lnTo>
                    <a:pt x="765" y="358"/>
                  </a:lnTo>
                  <a:lnTo>
                    <a:pt x="765" y="356"/>
                  </a:lnTo>
                  <a:lnTo>
                    <a:pt x="800" y="315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07" y="282"/>
                  </a:lnTo>
                  <a:lnTo>
                    <a:pt x="828" y="256"/>
                  </a:lnTo>
                  <a:lnTo>
                    <a:pt x="815" y="226"/>
                  </a:lnTo>
                  <a:lnTo>
                    <a:pt x="813" y="224"/>
                  </a:lnTo>
                  <a:lnTo>
                    <a:pt x="815" y="221"/>
                  </a:lnTo>
                  <a:lnTo>
                    <a:pt x="876" y="213"/>
                  </a:lnTo>
                  <a:lnTo>
                    <a:pt x="889" y="198"/>
                  </a:lnTo>
                  <a:lnTo>
                    <a:pt x="868" y="128"/>
                  </a:lnTo>
                  <a:lnTo>
                    <a:pt x="846" y="126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833" y="148"/>
                  </a:lnTo>
                  <a:lnTo>
                    <a:pt x="796" y="148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89" y="180"/>
                  </a:lnTo>
                  <a:lnTo>
                    <a:pt x="739" y="226"/>
                  </a:lnTo>
                  <a:lnTo>
                    <a:pt x="739" y="226"/>
                  </a:lnTo>
                  <a:lnTo>
                    <a:pt x="737" y="226"/>
                  </a:lnTo>
                  <a:lnTo>
                    <a:pt x="706" y="228"/>
                  </a:lnTo>
                  <a:lnTo>
                    <a:pt x="706" y="228"/>
                  </a:lnTo>
                  <a:lnTo>
                    <a:pt x="704" y="228"/>
                  </a:lnTo>
                  <a:lnTo>
                    <a:pt x="678" y="187"/>
                  </a:lnTo>
                  <a:lnTo>
                    <a:pt x="619" y="187"/>
                  </a:lnTo>
                  <a:lnTo>
                    <a:pt x="617" y="187"/>
                  </a:lnTo>
                  <a:lnTo>
                    <a:pt x="617" y="185"/>
                  </a:lnTo>
                  <a:lnTo>
                    <a:pt x="615" y="152"/>
                  </a:lnTo>
                  <a:lnTo>
                    <a:pt x="615" y="152"/>
                  </a:lnTo>
                  <a:lnTo>
                    <a:pt x="615" y="150"/>
                  </a:lnTo>
                  <a:lnTo>
                    <a:pt x="641" y="135"/>
                  </a:lnTo>
                  <a:lnTo>
                    <a:pt x="637" y="100"/>
                  </a:lnTo>
                  <a:lnTo>
                    <a:pt x="637" y="100"/>
                  </a:lnTo>
                  <a:lnTo>
                    <a:pt x="639" y="98"/>
                  </a:lnTo>
                  <a:lnTo>
                    <a:pt x="671" y="24"/>
                  </a:lnTo>
                  <a:lnTo>
                    <a:pt x="652" y="0"/>
                  </a:lnTo>
                  <a:lnTo>
                    <a:pt x="506" y="76"/>
                  </a:lnTo>
                  <a:lnTo>
                    <a:pt x="510" y="98"/>
                  </a:lnTo>
                  <a:lnTo>
                    <a:pt x="510" y="100"/>
                  </a:lnTo>
                  <a:lnTo>
                    <a:pt x="510" y="100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77" y="111"/>
                  </a:lnTo>
                  <a:lnTo>
                    <a:pt x="449" y="107"/>
                  </a:lnTo>
                  <a:lnTo>
                    <a:pt x="355" y="148"/>
                  </a:lnTo>
                  <a:lnTo>
                    <a:pt x="355" y="150"/>
                  </a:lnTo>
                  <a:lnTo>
                    <a:pt x="353" y="148"/>
                  </a:lnTo>
                  <a:lnTo>
                    <a:pt x="331" y="130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2" y="154"/>
                  </a:lnTo>
                  <a:lnTo>
                    <a:pt x="227" y="126"/>
                  </a:lnTo>
                  <a:lnTo>
                    <a:pt x="174" y="126"/>
                  </a:lnTo>
                  <a:lnTo>
                    <a:pt x="151" y="148"/>
                  </a:lnTo>
                  <a:lnTo>
                    <a:pt x="151" y="150"/>
                  </a:lnTo>
                  <a:lnTo>
                    <a:pt x="148" y="148"/>
                  </a:lnTo>
                  <a:lnTo>
                    <a:pt x="124" y="126"/>
                  </a:lnTo>
                  <a:lnTo>
                    <a:pt x="107" y="141"/>
                  </a:lnTo>
                  <a:lnTo>
                    <a:pt x="107" y="141"/>
                  </a:lnTo>
                  <a:lnTo>
                    <a:pt x="105" y="141"/>
                  </a:lnTo>
                  <a:lnTo>
                    <a:pt x="74" y="115"/>
                  </a:lnTo>
                  <a:lnTo>
                    <a:pt x="37" y="130"/>
                  </a:lnTo>
                  <a:lnTo>
                    <a:pt x="0" y="154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48" y="189"/>
                  </a:lnTo>
                  <a:lnTo>
                    <a:pt x="33" y="208"/>
                  </a:lnTo>
                  <a:lnTo>
                    <a:pt x="55" y="230"/>
                  </a:lnTo>
                  <a:lnTo>
                    <a:pt x="94" y="208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116" y="241"/>
                  </a:lnTo>
                  <a:lnTo>
                    <a:pt x="144" y="234"/>
                  </a:lnTo>
                  <a:lnTo>
                    <a:pt x="146" y="234"/>
                  </a:lnTo>
                  <a:lnTo>
                    <a:pt x="148" y="237"/>
                  </a:lnTo>
                  <a:lnTo>
                    <a:pt x="153" y="295"/>
                  </a:lnTo>
                  <a:lnTo>
                    <a:pt x="181" y="312"/>
                  </a:lnTo>
                  <a:lnTo>
                    <a:pt x="183" y="312"/>
                  </a:lnTo>
                  <a:lnTo>
                    <a:pt x="183" y="315"/>
                  </a:lnTo>
                  <a:lnTo>
                    <a:pt x="166" y="338"/>
                  </a:lnTo>
                  <a:lnTo>
                    <a:pt x="214" y="410"/>
                  </a:lnTo>
                  <a:lnTo>
                    <a:pt x="214" y="4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8" name="Freeform 193">
              <a:extLst>
                <a:ext uri="{FF2B5EF4-FFF2-40B4-BE49-F238E27FC236}">
                  <a16:creationId xmlns:a16="http://schemas.microsoft.com/office/drawing/2014/main" xmlns="" id="{1D99C397-CD2B-491F-91FD-2248B1243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6" y="2679"/>
              <a:ext cx="499" cy="670"/>
            </a:xfrm>
            <a:custGeom>
              <a:avLst/>
              <a:gdLst>
                <a:gd name="T0" fmla="*/ 95 w 499"/>
                <a:gd name="T1" fmla="*/ 236 h 670"/>
                <a:gd name="T2" fmla="*/ 95 w 499"/>
                <a:gd name="T3" fmla="*/ 232 h 670"/>
                <a:gd name="T4" fmla="*/ 161 w 499"/>
                <a:gd name="T5" fmla="*/ 269 h 670"/>
                <a:gd name="T6" fmla="*/ 183 w 499"/>
                <a:gd name="T7" fmla="*/ 325 h 670"/>
                <a:gd name="T8" fmla="*/ 215 w 499"/>
                <a:gd name="T9" fmla="*/ 366 h 670"/>
                <a:gd name="T10" fmla="*/ 257 w 499"/>
                <a:gd name="T11" fmla="*/ 431 h 670"/>
                <a:gd name="T12" fmla="*/ 285 w 499"/>
                <a:gd name="T13" fmla="*/ 477 h 670"/>
                <a:gd name="T14" fmla="*/ 318 w 499"/>
                <a:gd name="T15" fmla="*/ 503 h 670"/>
                <a:gd name="T16" fmla="*/ 329 w 499"/>
                <a:gd name="T17" fmla="*/ 531 h 670"/>
                <a:gd name="T18" fmla="*/ 337 w 499"/>
                <a:gd name="T19" fmla="*/ 557 h 670"/>
                <a:gd name="T20" fmla="*/ 379 w 499"/>
                <a:gd name="T21" fmla="*/ 576 h 670"/>
                <a:gd name="T22" fmla="*/ 383 w 499"/>
                <a:gd name="T23" fmla="*/ 618 h 670"/>
                <a:gd name="T24" fmla="*/ 425 w 499"/>
                <a:gd name="T25" fmla="*/ 670 h 670"/>
                <a:gd name="T26" fmla="*/ 429 w 499"/>
                <a:gd name="T27" fmla="*/ 624 h 670"/>
                <a:gd name="T28" fmla="*/ 422 w 499"/>
                <a:gd name="T29" fmla="*/ 589 h 670"/>
                <a:gd name="T30" fmla="*/ 457 w 499"/>
                <a:gd name="T31" fmla="*/ 587 h 670"/>
                <a:gd name="T32" fmla="*/ 468 w 499"/>
                <a:gd name="T33" fmla="*/ 581 h 670"/>
                <a:gd name="T34" fmla="*/ 499 w 499"/>
                <a:gd name="T35" fmla="*/ 596 h 670"/>
                <a:gd name="T36" fmla="*/ 475 w 499"/>
                <a:gd name="T37" fmla="*/ 544 h 670"/>
                <a:gd name="T38" fmla="*/ 438 w 499"/>
                <a:gd name="T39" fmla="*/ 544 h 670"/>
                <a:gd name="T40" fmla="*/ 398 w 499"/>
                <a:gd name="T41" fmla="*/ 529 h 670"/>
                <a:gd name="T42" fmla="*/ 355 w 499"/>
                <a:gd name="T43" fmla="*/ 496 h 670"/>
                <a:gd name="T44" fmla="*/ 326 w 499"/>
                <a:gd name="T45" fmla="*/ 423 h 670"/>
                <a:gd name="T46" fmla="*/ 311 w 499"/>
                <a:gd name="T47" fmla="*/ 377 h 670"/>
                <a:gd name="T48" fmla="*/ 344 w 499"/>
                <a:gd name="T49" fmla="*/ 358 h 670"/>
                <a:gd name="T50" fmla="*/ 409 w 499"/>
                <a:gd name="T51" fmla="*/ 355 h 670"/>
                <a:gd name="T52" fmla="*/ 265 w 499"/>
                <a:gd name="T53" fmla="*/ 258 h 670"/>
                <a:gd name="T54" fmla="*/ 163 w 499"/>
                <a:gd name="T55" fmla="*/ 167 h 670"/>
                <a:gd name="T56" fmla="*/ 117 w 499"/>
                <a:gd name="T57" fmla="*/ 80 h 670"/>
                <a:gd name="T58" fmla="*/ 54 w 499"/>
                <a:gd name="T59" fmla="*/ 37 h 670"/>
                <a:gd name="T60" fmla="*/ 24 w 499"/>
                <a:gd name="T61" fmla="*/ 0 h 670"/>
                <a:gd name="T62" fmla="*/ 4 w 499"/>
                <a:gd name="T63" fmla="*/ 9 h 670"/>
                <a:gd name="T64" fmla="*/ 0 w 499"/>
                <a:gd name="T65" fmla="*/ 30 h 670"/>
                <a:gd name="T66" fmla="*/ 37 w 499"/>
                <a:gd name="T67" fmla="*/ 56 h 670"/>
                <a:gd name="T68" fmla="*/ 56 w 499"/>
                <a:gd name="T69" fmla="*/ 87 h 670"/>
                <a:gd name="T70" fmla="*/ 45 w 499"/>
                <a:gd name="T71" fmla="*/ 102 h 670"/>
                <a:gd name="T72" fmla="*/ 28 w 499"/>
                <a:gd name="T73" fmla="*/ 98 h 670"/>
                <a:gd name="T74" fmla="*/ 21 w 499"/>
                <a:gd name="T75" fmla="*/ 124 h 670"/>
                <a:gd name="T76" fmla="*/ 58 w 499"/>
                <a:gd name="T77" fmla="*/ 150 h 670"/>
                <a:gd name="T78" fmla="*/ 95 w 499"/>
                <a:gd name="T79" fmla="*/ 232 h 670"/>
                <a:gd name="T80" fmla="*/ 91 w 499"/>
                <a:gd name="T81" fmla="*/ 232 h 670"/>
                <a:gd name="T82" fmla="*/ 95 w 499"/>
                <a:gd name="T83" fmla="*/ 236 h 670"/>
                <a:gd name="T84" fmla="*/ 95 w 499"/>
                <a:gd name="T85" fmla="*/ 236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99" h="670">
                  <a:moveTo>
                    <a:pt x="95" y="236"/>
                  </a:moveTo>
                  <a:lnTo>
                    <a:pt x="95" y="232"/>
                  </a:lnTo>
                  <a:lnTo>
                    <a:pt x="161" y="269"/>
                  </a:lnTo>
                  <a:lnTo>
                    <a:pt x="183" y="325"/>
                  </a:lnTo>
                  <a:lnTo>
                    <a:pt x="215" y="366"/>
                  </a:lnTo>
                  <a:lnTo>
                    <a:pt x="257" y="431"/>
                  </a:lnTo>
                  <a:lnTo>
                    <a:pt x="285" y="477"/>
                  </a:lnTo>
                  <a:lnTo>
                    <a:pt x="318" y="503"/>
                  </a:lnTo>
                  <a:lnTo>
                    <a:pt x="329" y="531"/>
                  </a:lnTo>
                  <a:lnTo>
                    <a:pt x="337" y="557"/>
                  </a:lnTo>
                  <a:lnTo>
                    <a:pt x="379" y="576"/>
                  </a:lnTo>
                  <a:lnTo>
                    <a:pt x="383" y="618"/>
                  </a:lnTo>
                  <a:lnTo>
                    <a:pt x="425" y="670"/>
                  </a:lnTo>
                  <a:lnTo>
                    <a:pt x="429" y="624"/>
                  </a:lnTo>
                  <a:lnTo>
                    <a:pt x="422" y="589"/>
                  </a:lnTo>
                  <a:lnTo>
                    <a:pt x="457" y="587"/>
                  </a:lnTo>
                  <a:lnTo>
                    <a:pt x="468" y="581"/>
                  </a:lnTo>
                  <a:lnTo>
                    <a:pt x="499" y="596"/>
                  </a:lnTo>
                  <a:lnTo>
                    <a:pt x="475" y="544"/>
                  </a:lnTo>
                  <a:lnTo>
                    <a:pt x="438" y="544"/>
                  </a:lnTo>
                  <a:lnTo>
                    <a:pt x="398" y="529"/>
                  </a:lnTo>
                  <a:lnTo>
                    <a:pt x="355" y="496"/>
                  </a:lnTo>
                  <a:lnTo>
                    <a:pt x="326" y="423"/>
                  </a:lnTo>
                  <a:lnTo>
                    <a:pt x="311" y="377"/>
                  </a:lnTo>
                  <a:lnTo>
                    <a:pt x="344" y="358"/>
                  </a:lnTo>
                  <a:lnTo>
                    <a:pt x="409" y="355"/>
                  </a:lnTo>
                  <a:lnTo>
                    <a:pt x="265" y="258"/>
                  </a:lnTo>
                  <a:lnTo>
                    <a:pt x="163" y="167"/>
                  </a:lnTo>
                  <a:lnTo>
                    <a:pt x="117" y="80"/>
                  </a:lnTo>
                  <a:lnTo>
                    <a:pt x="54" y="37"/>
                  </a:lnTo>
                  <a:lnTo>
                    <a:pt x="24" y="0"/>
                  </a:lnTo>
                  <a:lnTo>
                    <a:pt x="4" y="9"/>
                  </a:lnTo>
                  <a:lnTo>
                    <a:pt x="0" y="30"/>
                  </a:lnTo>
                  <a:lnTo>
                    <a:pt x="37" y="56"/>
                  </a:lnTo>
                  <a:lnTo>
                    <a:pt x="56" y="87"/>
                  </a:lnTo>
                  <a:lnTo>
                    <a:pt x="45" y="102"/>
                  </a:lnTo>
                  <a:lnTo>
                    <a:pt x="28" y="98"/>
                  </a:lnTo>
                  <a:lnTo>
                    <a:pt x="21" y="124"/>
                  </a:lnTo>
                  <a:lnTo>
                    <a:pt x="58" y="150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95" y="236"/>
                  </a:lnTo>
                  <a:lnTo>
                    <a:pt x="95" y="2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9" name="Freeform 194">
              <a:extLst>
                <a:ext uri="{FF2B5EF4-FFF2-40B4-BE49-F238E27FC236}">
                  <a16:creationId xmlns:a16="http://schemas.microsoft.com/office/drawing/2014/main" xmlns="" id="{8CB2DBED-B660-47D9-B917-617B81F7332A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259"/>
              <a:ext cx="252" cy="245"/>
            </a:xfrm>
            <a:custGeom>
              <a:avLst/>
              <a:gdLst>
                <a:gd name="T0" fmla="*/ 8 w 252"/>
                <a:gd name="T1" fmla="*/ 173 h 245"/>
                <a:gd name="T2" fmla="*/ 35 w 252"/>
                <a:gd name="T3" fmla="*/ 232 h 245"/>
                <a:gd name="T4" fmla="*/ 56 w 252"/>
                <a:gd name="T5" fmla="*/ 245 h 245"/>
                <a:gd name="T6" fmla="*/ 76 w 252"/>
                <a:gd name="T7" fmla="*/ 232 h 245"/>
                <a:gd name="T8" fmla="*/ 106 w 252"/>
                <a:gd name="T9" fmla="*/ 232 h 245"/>
                <a:gd name="T10" fmla="*/ 141 w 252"/>
                <a:gd name="T11" fmla="*/ 190 h 245"/>
                <a:gd name="T12" fmla="*/ 143 w 252"/>
                <a:gd name="T13" fmla="*/ 188 h 245"/>
                <a:gd name="T14" fmla="*/ 196 w 252"/>
                <a:gd name="T15" fmla="*/ 188 h 245"/>
                <a:gd name="T16" fmla="*/ 198 w 252"/>
                <a:gd name="T17" fmla="*/ 188 h 245"/>
                <a:gd name="T18" fmla="*/ 242 w 252"/>
                <a:gd name="T19" fmla="*/ 227 h 245"/>
                <a:gd name="T20" fmla="*/ 252 w 252"/>
                <a:gd name="T21" fmla="*/ 186 h 245"/>
                <a:gd name="T22" fmla="*/ 231 w 252"/>
                <a:gd name="T23" fmla="*/ 171 h 245"/>
                <a:gd name="T24" fmla="*/ 228 w 252"/>
                <a:gd name="T25" fmla="*/ 147 h 245"/>
                <a:gd name="T26" fmla="*/ 198 w 252"/>
                <a:gd name="T27" fmla="*/ 123 h 245"/>
                <a:gd name="T28" fmla="*/ 198 w 252"/>
                <a:gd name="T29" fmla="*/ 121 h 245"/>
                <a:gd name="T30" fmla="*/ 161 w 252"/>
                <a:gd name="T31" fmla="*/ 58 h 245"/>
                <a:gd name="T32" fmla="*/ 161 w 252"/>
                <a:gd name="T33" fmla="*/ 56 h 245"/>
                <a:gd name="T34" fmla="*/ 141 w 252"/>
                <a:gd name="T35" fmla="*/ 28 h 245"/>
                <a:gd name="T36" fmla="*/ 141 w 252"/>
                <a:gd name="T37" fmla="*/ 26 h 245"/>
                <a:gd name="T38" fmla="*/ 135 w 252"/>
                <a:gd name="T39" fmla="*/ 2 h 245"/>
                <a:gd name="T40" fmla="*/ 111 w 252"/>
                <a:gd name="T41" fmla="*/ 8 h 245"/>
                <a:gd name="T42" fmla="*/ 109 w 252"/>
                <a:gd name="T43" fmla="*/ 11 h 245"/>
                <a:gd name="T44" fmla="*/ 98 w 252"/>
                <a:gd name="T45" fmla="*/ 11 h 245"/>
                <a:gd name="T46" fmla="*/ 91 w 252"/>
                <a:gd name="T47" fmla="*/ 4 h 245"/>
                <a:gd name="T48" fmla="*/ 67 w 252"/>
                <a:gd name="T49" fmla="*/ 15 h 245"/>
                <a:gd name="T50" fmla="*/ 67 w 252"/>
                <a:gd name="T51" fmla="*/ 41 h 245"/>
                <a:gd name="T52" fmla="*/ 58 w 252"/>
                <a:gd name="T53" fmla="*/ 52 h 245"/>
                <a:gd name="T54" fmla="*/ 67 w 252"/>
                <a:gd name="T55" fmla="*/ 58 h 245"/>
                <a:gd name="T56" fmla="*/ 67 w 252"/>
                <a:gd name="T57" fmla="*/ 71 h 245"/>
                <a:gd name="T58" fmla="*/ 65 w 252"/>
                <a:gd name="T59" fmla="*/ 73 h 245"/>
                <a:gd name="T60" fmla="*/ 43 w 252"/>
                <a:gd name="T61" fmla="*/ 84 h 245"/>
                <a:gd name="T62" fmla="*/ 48 w 252"/>
                <a:gd name="T63" fmla="*/ 106 h 245"/>
                <a:gd name="T64" fmla="*/ 0 w 252"/>
                <a:gd name="T65" fmla="*/ 156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2" h="245">
                  <a:moveTo>
                    <a:pt x="0" y="156"/>
                  </a:moveTo>
                  <a:lnTo>
                    <a:pt x="8" y="173"/>
                  </a:lnTo>
                  <a:lnTo>
                    <a:pt x="6" y="216"/>
                  </a:lnTo>
                  <a:lnTo>
                    <a:pt x="35" y="232"/>
                  </a:lnTo>
                  <a:lnTo>
                    <a:pt x="35" y="232"/>
                  </a:lnTo>
                  <a:lnTo>
                    <a:pt x="56" y="245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8" y="232"/>
                  </a:lnTo>
                  <a:lnTo>
                    <a:pt x="106" y="232"/>
                  </a:lnTo>
                  <a:lnTo>
                    <a:pt x="137" y="214"/>
                  </a:lnTo>
                  <a:lnTo>
                    <a:pt x="141" y="190"/>
                  </a:lnTo>
                  <a:lnTo>
                    <a:pt x="141" y="188"/>
                  </a:lnTo>
                  <a:lnTo>
                    <a:pt x="143" y="188"/>
                  </a:lnTo>
                  <a:lnTo>
                    <a:pt x="178" y="193"/>
                  </a:lnTo>
                  <a:lnTo>
                    <a:pt x="196" y="188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11" y="216"/>
                  </a:lnTo>
                  <a:lnTo>
                    <a:pt x="242" y="227"/>
                  </a:lnTo>
                  <a:lnTo>
                    <a:pt x="250" y="221"/>
                  </a:lnTo>
                  <a:lnTo>
                    <a:pt x="252" y="186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31" y="171"/>
                  </a:lnTo>
                  <a:lnTo>
                    <a:pt x="228" y="147"/>
                  </a:lnTo>
                  <a:lnTo>
                    <a:pt x="218" y="136"/>
                  </a:lnTo>
                  <a:lnTo>
                    <a:pt x="198" y="123"/>
                  </a:lnTo>
                  <a:lnTo>
                    <a:pt x="198" y="121"/>
                  </a:lnTo>
                  <a:lnTo>
                    <a:pt x="198" y="121"/>
                  </a:lnTo>
                  <a:lnTo>
                    <a:pt x="200" y="86"/>
                  </a:lnTo>
                  <a:lnTo>
                    <a:pt x="161" y="58"/>
                  </a:lnTo>
                  <a:lnTo>
                    <a:pt x="161" y="58"/>
                  </a:lnTo>
                  <a:lnTo>
                    <a:pt x="161" y="56"/>
                  </a:lnTo>
                  <a:lnTo>
                    <a:pt x="157" y="34"/>
                  </a:lnTo>
                  <a:lnTo>
                    <a:pt x="141" y="28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11"/>
                  </a:lnTo>
                  <a:lnTo>
                    <a:pt x="135" y="2"/>
                  </a:lnTo>
                  <a:lnTo>
                    <a:pt x="113" y="0"/>
                  </a:lnTo>
                  <a:lnTo>
                    <a:pt x="111" y="8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1" y="4"/>
                  </a:lnTo>
                  <a:lnTo>
                    <a:pt x="82" y="4"/>
                  </a:lnTo>
                  <a:lnTo>
                    <a:pt x="67" y="15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58" y="52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60"/>
                  </a:lnTo>
                  <a:lnTo>
                    <a:pt x="67" y="71"/>
                  </a:lnTo>
                  <a:lnTo>
                    <a:pt x="67" y="73"/>
                  </a:lnTo>
                  <a:lnTo>
                    <a:pt x="65" y="73"/>
                  </a:lnTo>
                  <a:lnTo>
                    <a:pt x="50" y="73"/>
                  </a:lnTo>
                  <a:lnTo>
                    <a:pt x="43" y="84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0" name="Freeform 195">
              <a:extLst>
                <a:ext uri="{FF2B5EF4-FFF2-40B4-BE49-F238E27FC236}">
                  <a16:creationId xmlns:a16="http://schemas.microsoft.com/office/drawing/2014/main" xmlns="" id="{779A8706-557E-43D6-A8C6-04EFED4CC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" y="2187"/>
              <a:ext cx="164" cy="223"/>
            </a:xfrm>
            <a:custGeom>
              <a:avLst/>
              <a:gdLst>
                <a:gd name="T0" fmla="*/ 24 w 164"/>
                <a:gd name="T1" fmla="*/ 0 h 223"/>
                <a:gd name="T2" fmla="*/ 9 w 164"/>
                <a:gd name="T3" fmla="*/ 20 h 223"/>
                <a:gd name="T4" fmla="*/ 0 w 164"/>
                <a:gd name="T5" fmla="*/ 33 h 223"/>
                <a:gd name="T6" fmla="*/ 5 w 164"/>
                <a:gd name="T7" fmla="*/ 50 h 223"/>
                <a:gd name="T8" fmla="*/ 22 w 164"/>
                <a:gd name="T9" fmla="*/ 57 h 223"/>
                <a:gd name="T10" fmla="*/ 20 w 164"/>
                <a:gd name="T11" fmla="*/ 83 h 223"/>
                <a:gd name="T12" fmla="*/ 61 w 164"/>
                <a:gd name="T13" fmla="*/ 111 h 223"/>
                <a:gd name="T14" fmla="*/ 64 w 164"/>
                <a:gd name="T15" fmla="*/ 161 h 223"/>
                <a:gd name="T16" fmla="*/ 98 w 164"/>
                <a:gd name="T17" fmla="*/ 223 h 223"/>
                <a:gd name="T18" fmla="*/ 144 w 164"/>
                <a:gd name="T19" fmla="*/ 176 h 223"/>
                <a:gd name="T20" fmla="*/ 140 w 164"/>
                <a:gd name="T21" fmla="*/ 156 h 223"/>
                <a:gd name="T22" fmla="*/ 140 w 164"/>
                <a:gd name="T23" fmla="*/ 154 h 223"/>
                <a:gd name="T24" fmla="*/ 140 w 164"/>
                <a:gd name="T25" fmla="*/ 154 h 223"/>
                <a:gd name="T26" fmla="*/ 149 w 164"/>
                <a:gd name="T27" fmla="*/ 141 h 223"/>
                <a:gd name="T28" fmla="*/ 149 w 164"/>
                <a:gd name="T29" fmla="*/ 141 h 223"/>
                <a:gd name="T30" fmla="*/ 151 w 164"/>
                <a:gd name="T31" fmla="*/ 141 h 223"/>
                <a:gd name="T32" fmla="*/ 164 w 164"/>
                <a:gd name="T33" fmla="*/ 141 h 223"/>
                <a:gd name="T34" fmla="*/ 164 w 164"/>
                <a:gd name="T35" fmla="*/ 132 h 223"/>
                <a:gd name="T36" fmla="*/ 155 w 164"/>
                <a:gd name="T37" fmla="*/ 126 h 223"/>
                <a:gd name="T38" fmla="*/ 155 w 164"/>
                <a:gd name="T39" fmla="*/ 126 h 223"/>
                <a:gd name="T40" fmla="*/ 155 w 164"/>
                <a:gd name="T41" fmla="*/ 124 h 223"/>
                <a:gd name="T42" fmla="*/ 164 w 164"/>
                <a:gd name="T43" fmla="*/ 111 h 223"/>
                <a:gd name="T44" fmla="*/ 164 w 164"/>
                <a:gd name="T45" fmla="*/ 87 h 223"/>
                <a:gd name="T46" fmla="*/ 133 w 164"/>
                <a:gd name="T47" fmla="*/ 57 h 223"/>
                <a:gd name="T48" fmla="*/ 103 w 164"/>
                <a:gd name="T49" fmla="*/ 50 h 223"/>
                <a:gd name="T50" fmla="*/ 103 w 164"/>
                <a:gd name="T51" fmla="*/ 50 h 223"/>
                <a:gd name="T52" fmla="*/ 101 w 164"/>
                <a:gd name="T53" fmla="*/ 50 h 223"/>
                <a:gd name="T54" fmla="*/ 79 w 164"/>
                <a:gd name="T55" fmla="*/ 35 h 223"/>
                <a:gd name="T56" fmla="*/ 79 w 164"/>
                <a:gd name="T57" fmla="*/ 35 h 223"/>
                <a:gd name="T58" fmla="*/ 79 w 164"/>
                <a:gd name="T59" fmla="*/ 33 h 223"/>
                <a:gd name="T60" fmla="*/ 72 w 164"/>
                <a:gd name="T61" fmla="*/ 15 h 223"/>
                <a:gd name="T62" fmla="*/ 61 w 164"/>
                <a:gd name="T63" fmla="*/ 13 h 223"/>
                <a:gd name="T64" fmla="*/ 51 w 164"/>
                <a:gd name="T65" fmla="*/ 20 h 223"/>
                <a:gd name="T66" fmla="*/ 48 w 164"/>
                <a:gd name="T67" fmla="*/ 20 h 223"/>
                <a:gd name="T68" fmla="*/ 48 w 164"/>
                <a:gd name="T69" fmla="*/ 20 h 223"/>
                <a:gd name="T70" fmla="*/ 24 w 164"/>
                <a:gd name="T71" fmla="*/ 0 h 223"/>
                <a:gd name="T72" fmla="*/ 24 w 164"/>
                <a:gd name="T73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4" h="223">
                  <a:moveTo>
                    <a:pt x="24" y="0"/>
                  </a:moveTo>
                  <a:lnTo>
                    <a:pt x="9" y="20"/>
                  </a:lnTo>
                  <a:lnTo>
                    <a:pt x="0" y="33"/>
                  </a:lnTo>
                  <a:lnTo>
                    <a:pt x="5" y="50"/>
                  </a:lnTo>
                  <a:lnTo>
                    <a:pt x="22" y="57"/>
                  </a:lnTo>
                  <a:lnTo>
                    <a:pt x="20" y="83"/>
                  </a:lnTo>
                  <a:lnTo>
                    <a:pt x="61" y="111"/>
                  </a:lnTo>
                  <a:lnTo>
                    <a:pt x="64" y="161"/>
                  </a:lnTo>
                  <a:lnTo>
                    <a:pt x="98" y="223"/>
                  </a:lnTo>
                  <a:lnTo>
                    <a:pt x="144" y="17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9" y="141"/>
                  </a:lnTo>
                  <a:lnTo>
                    <a:pt x="149" y="141"/>
                  </a:lnTo>
                  <a:lnTo>
                    <a:pt x="151" y="141"/>
                  </a:lnTo>
                  <a:lnTo>
                    <a:pt x="164" y="141"/>
                  </a:lnTo>
                  <a:lnTo>
                    <a:pt x="164" y="132"/>
                  </a:lnTo>
                  <a:lnTo>
                    <a:pt x="155" y="126"/>
                  </a:lnTo>
                  <a:lnTo>
                    <a:pt x="155" y="126"/>
                  </a:lnTo>
                  <a:lnTo>
                    <a:pt x="155" y="124"/>
                  </a:lnTo>
                  <a:lnTo>
                    <a:pt x="164" y="111"/>
                  </a:lnTo>
                  <a:lnTo>
                    <a:pt x="164" y="87"/>
                  </a:lnTo>
                  <a:lnTo>
                    <a:pt x="133" y="57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1" y="50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72" y="15"/>
                  </a:lnTo>
                  <a:lnTo>
                    <a:pt x="61" y="13"/>
                  </a:lnTo>
                  <a:lnTo>
                    <a:pt x="51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24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1" name="Freeform 196">
              <a:extLst>
                <a:ext uri="{FF2B5EF4-FFF2-40B4-BE49-F238E27FC236}">
                  <a16:creationId xmlns:a16="http://schemas.microsoft.com/office/drawing/2014/main" xmlns="" id="{C933315C-5363-4E88-B30A-AA7906B2F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" y="2077"/>
              <a:ext cx="201" cy="195"/>
            </a:xfrm>
            <a:custGeom>
              <a:avLst/>
              <a:gdLst>
                <a:gd name="T0" fmla="*/ 44 w 201"/>
                <a:gd name="T1" fmla="*/ 0 h 195"/>
                <a:gd name="T2" fmla="*/ 24 w 201"/>
                <a:gd name="T3" fmla="*/ 8 h 195"/>
                <a:gd name="T4" fmla="*/ 16 w 201"/>
                <a:gd name="T5" fmla="*/ 26 h 195"/>
                <a:gd name="T6" fmla="*/ 2 w 201"/>
                <a:gd name="T7" fmla="*/ 28 h 195"/>
                <a:gd name="T8" fmla="*/ 0 w 201"/>
                <a:gd name="T9" fmla="*/ 52 h 195"/>
                <a:gd name="T10" fmla="*/ 20 w 201"/>
                <a:gd name="T11" fmla="*/ 62 h 195"/>
                <a:gd name="T12" fmla="*/ 16 w 201"/>
                <a:gd name="T13" fmla="*/ 106 h 195"/>
                <a:gd name="T14" fmla="*/ 40 w 201"/>
                <a:gd name="T15" fmla="*/ 125 h 195"/>
                <a:gd name="T16" fmla="*/ 50 w 201"/>
                <a:gd name="T17" fmla="*/ 119 h 195"/>
                <a:gd name="T18" fmla="*/ 50 w 201"/>
                <a:gd name="T19" fmla="*/ 119 h 195"/>
                <a:gd name="T20" fmla="*/ 50 w 201"/>
                <a:gd name="T21" fmla="*/ 119 h 195"/>
                <a:gd name="T22" fmla="*/ 63 w 201"/>
                <a:gd name="T23" fmla="*/ 121 h 195"/>
                <a:gd name="T24" fmla="*/ 66 w 201"/>
                <a:gd name="T25" fmla="*/ 121 h 195"/>
                <a:gd name="T26" fmla="*/ 66 w 201"/>
                <a:gd name="T27" fmla="*/ 123 h 195"/>
                <a:gd name="T28" fmla="*/ 72 w 201"/>
                <a:gd name="T29" fmla="*/ 141 h 195"/>
                <a:gd name="T30" fmla="*/ 92 w 201"/>
                <a:gd name="T31" fmla="*/ 156 h 195"/>
                <a:gd name="T32" fmla="*/ 125 w 201"/>
                <a:gd name="T33" fmla="*/ 162 h 195"/>
                <a:gd name="T34" fmla="*/ 125 w 201"/>
                <a:gd name="T35" fmla="*/ 162 h 195"/>
                <a:gd name="T36" fmla="*/ 125 w 201"/>
                <a:gd name="T37" fmla="*/ 162 h 195"/>
                <a:gd name="T38" fmla="*/ 155 w 201"/>
                <a:gd name="T39" fmla="*/ 195 h 195"/>
                <a:gd name="T40" fmla="*/ 170 w 201"/>
                <a:gd name="T41" fmla="*/ 182 h 195"/>
                <a:gd name="T42" fmla="*/ 170 w 201"/>
                <a:gd name="T43" fmla="*/ 182 h 195"/>
                <a:gd name="T44" fmla="*/ 170 w 201"/>
                <a:gd name="T45" fmla="*/ 182 h 195"/>
                <a:gd name="T46" fmla="*/ 183 w 201"/>
                <a:gd name="T47" fmla="*/ 182 h 195"/>
                <a:gd name="T48" fmla="*/ 183 w 201"/>
                <a:gd name="T49" fmla="*/ 182 h 195"/>
                <a:gd name="T50" fmla="*/ 183 w 201"/>
                <a:gd name="T51" fmla="*/ 182 h 195"/>
                <a:gd name="T52" fmla="*/ 190 w 201"/>
                <a:gd name="T53" fmla="*/ 188 h 195"/>
                <a:gd name="T54" fmla="*/ 196 w 201"/>
                <a:gd name="T55" fmla="*/ 188 h 195"/>
                <a:gd name="T56" fmla="*/ 201 w 201"/>
                <a:gd name="T57" fmla="*/ 180 h 195"/>
                <a:gd name="T58" fmla="*/ 186 w 201"/>
                <a:gd name="T59" fmla="*/ 160 h 195"/>
                <a:gd name="T60" fmla="*/ 186 w 201"/>
                <a:gd name="T61" fmla="*/ 160 h 195"/>
                <a:gd name="T62" fmla="*/ 186 w 201"/>
                <a:gd name="T63" fmla="*/ 160 h 195"/>
                <a:gd name="T64" fmla="*/ 183 w 201"/>
                <a:gd name="T65" fmla="*/ 141 h 195"/>
                <a:gd name="T66" fmla="*/ 168 w 201"/>
                <a:gd name="T67" fmla="*/ 136 h 195"/>
                <a:gd name="T68" fmla="*/ 168 w 201"/>
                <a:gd name="T69" fmla="*/ 136 h 195"/>
                <a:gd name="T70" fmla="*/ 168 w 201"/>
                <a:gd name="T71" fmla="*/ 136 h 195"/>
                <a:gd name="T72" fmla="*/ 164 w 201"/>
                <a:gd name="T73" fmla="*/ 125 h 195"/>
                <a:gd name="T74" fmla="*/ 164 w 201"/>
                <a:gd name="T75" fmla="*/ 125 h 195"/>
                <a:gd name="T76" fmla="*/ 164 w 201"/>
                <a:gd name="T77" fmla="*/ 125 h 195"/>
                <a:gd name="T78" fmla="*/ 164 w 201"/>
                <a:gd name="T79" fmla="*/ 110 h 195"/>
                <a:gd name="T80" fmla="*/ 157 w 201"/>
                <a:gd name="T81" fmla="*/ 101 h 195"/>
                <a:gd name="T82" fmla="*/ 155 w 201"/>
                <a:gd name="T83" fmla="*/ 99 h 195"/>
                <a:gd name="T84" fmla="*/ 155 w 201"/>
                <a:gd name="T85" fmla="*/ 99 h 195"/>
                <a:gd name="T86" fmla="*/ 155 w 201"/>
                <a:gd name="T87" fmla="*/ 67 h 195"/>
                <a:gd name="T88" fmla="*/ 107 w 201"/>
                <a:gd name="T89" fmla="*/ 2 h 195"/>
                <a:gd name="T90" fmla="*/ 44 w 201"/>
                <a:gd name="T91" fmla="*/ 0 h 195"/>
                <a:gd name="T92" fmla="*/ 44 w 201"/>
                <a:gd name="T93" fmla="*/ 0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1" h="195">
                  <a:moveTo>
                    <a:pt x="44" y="0"/>
                  </a:moveTo>
                  <a:lnTo>
                    <a:pt x="24" y="8"/>
                  </a:lnTo>
                  <a:lnTo>
                    <a:pt x="16" y="26"/>
                  </a:lnTo>
                  <a:lnTo>
                    <a:pt x="2" y="28"/>
                  </a:lnTo>
                  <a:lnTo>
                    <a:pt x="0" y="52"/>
                  </a:lnTo>
                  <a:lnTo>
                    <a:pt x="20" y="62"/>
                  </a:lnTo>
                  <a:lnTo>
                    <a:pt x="16" y="106"/>
                  </a:lnTo>
                  <a:lnTo>
                    <a:pt x="40" y="125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50" y="119"/>
                  </a:lnTo>
                  <a:lnTo>
                    <a:pt x="63" y="121"/>
                  </a:lnTo>
                  <a:lnTo>
                    <a:pt x="66" y="121"/>
                  </a:lnTo>
                  <a:lnTo>
                    <a:pt x="66" y="123"/>
                  </a:lnTo>
                  <a:lnTo>
                    <a:pt x="72" y="141"/>
                  </a:lnTo>
                  <a:lnTo>
                    <a:pt x="92" y="156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25" y="162"/>
                  </a:lnTo>
                  <a:lnTo>
                    <a:pt x="155" y="195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83" y="182"/>
                  </a:lnTo>
                  <a:lnTo>
                    <a:pt x="190" y="188"/>
                  </a:lnTo>
                  <a:lnTo>
                    <a:pt x="196" y="188"/>
                  </a:lnTo>
                  <a:lnTo>
                    <a:pt x="201" y="18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6" y="160"/>
                  </a:lnTo>
                  <a:lnTo>
                    <a:pt x="183" y="141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8" y="136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25"/>
                  </a:lnTo>
                  <a:lnTo>
                    <a:pt x="164" y="110"/>
                  </a:lnTo>
                  <a:lnTo>
                    <a:pt x="157" y="101"/>
                  </a:lnTo>
                  <a:lnTo>
                    <a:pt x="155" y="99"/>
                  </a:lnTo>
                  <a:lnTo>
                    <a:pt x="155" y="99"/>
                  </a:lnTo>
                  <a:lnTo>
                    <a:pt x="155" y="67"/>
                  </a:lnTo>
                  <a:lnTo>
                    <a:pt x="107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2" name="Freeform 197">
              <a:extLst>
                <a:ext uri="{FF2B5EF4-FFF2-40B4-BE49-F238E27FC236}">
                  <a16:creationId xmlns:a16="http://schemas.microsoft.com/office/drawing/2014/main" xmlns="" id="{C8403E3B-81F2-4B89-9A51-61BC3C9A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" y="1875"/>
              <a:ext cx="209" cy="199"/>
            </a:xfrm>
            <a:custGeom>
              <a:avLst/>
              <a:gdLst>
                <a:gd name="T0" fmla="*/ 131 w 209"/>
                <a:gd name="T1" fmla="*/ 50 h 199"/>
                <a:gd name="T2" fmla="*/ 100 w 209"/>
                <a:gd name="T3" fmla="*/ 48 h 199"/>
                <a:gd name="T4" fmla="*/ 78 w 209"/>
                <a:gd name="T5" fmla="*/ 26 h 199"/>
                <a:gd name="T6" fmla="*/ 80 w 209"/>
                <a:gd name="T7" fmla="*/ 7 h 199"/>
                <a:gd name="T8" fmla="*/ 59 w 209"/>
                <a:gd name="T9" fmla="*/ 0 h 199"/>
                <a:gd name="T10" fmla="*/ 46 w 209"/>
                <a:gd name="T11" fmla="*/ 33 h 199"/>
                <a:gd name="T12" fmla="*/ 0 w 209"/>
                <a:gd name="T13" fmla="*/ 69 h 199"/>
                <a:gd name="T14" fmla="*/ 4 w 209"/>
                <a:gd name="T15" fmla="*/ 95 h 199"/>
                <a:gd name="T16" fmla="*/ 28 w 209"/>
                <a:gd name="T17" fmla="*/ 93 h 199"/>
                <a:gd name="T18" fmla="*/ 46 w 209"/>
                <a:gd name="T19" fmla="*/ 108 h 199"/>
                <a:gd name="T20" fmla="*/ 52 w 209"/>
                <a:gd name="T21" fmla="*/ 141 h 199"/>
                <a:gd name="T22" fmla="*/ 74 w 209"/>
                <a:gd name="T23" fmla="*/ 139 h 199"/>
                <a:gd name="T24" fmla="*/ 98 w 209"/>
                <a:gd name="T25" fmla="*/ 143 h 199"/>
                <a:gd name="T26" fmla="*/ 98 w 209"/>
                <a:gd name="T27" fmla="*/ 158 h 199"/>
                <a:gd name="T28" fmla="*/ 67 w 209"/>
                <a:gd name="T29" fmla="*/ 197 h 199"/>
                <a:gd name="T30" fmla="*/ 124 w 209"/>
                <a:gd name="T31" fmla="*/ 199 h 199"/>
                <a:gd name="T32" fmla="*/ 194 w 209"/>
                <a:gd name="T33" fmla="*/ 147 h 199"/>
                <a:gd name="T34" fmla="*/ 187 w 209"/>
                <a:gd name="T35" fmla="*/ 139 h 199"/>
                <a:gd name="T36" fmla="*/ 187 w 209"/>
                <a:gd name="T37" fmla="*/ 139 h 199"/>
                <a:gd name="T38" fmla="*/ 187 w 209"/>
                <a:gd name="T39" fmla="*/ 139 h 199"/>
                <a:gd name="T40" fmla="*/ 187 w 209"/>
                <a:gd name="T41" fmla="*/ 128 h 199"/>
                <a:gd name="T42" fmla="*/ 187 w 209"/>
                <a:gd name="T43" fmla="*/ 126 h 199"/>
                <a:gd name="T44" fmla="*/ 189 w 209"/>
                <a:gd name="T45" fmla="*/ 126 h 199"/>
                <a:gd name="T46" fmla="*/ 196 w 209"/>
                <a:gd name="T47" fmla="*/ 117 h 199"/>
                <a:gd name="T48" fmla="*/ 196 w 209"/>
                <a:gd name="T49" fmla="*/ 117 h 199"/>
                <a:gd name="T50" fmla="*/ 198 w 209"/>
                <a:gd name="T51" fmla="*/ 117 h 199"/>
                <a:gd name="T52" fmla="*/ 209 w 209"/>
                <a:gd name="T53" fmla="*/ 111 h 199"/>
                <a:gd name="T54" fmla="*/ 207 w 209"/>
                <a:gd name="T55" fmla="*/ 100 h 199"/>
                <a:gd name="T56" fmla="*/ 194 w 209"/>
                <a:gd name="T57" fmla="*/ 100 h 199"/>
                <a:gd name="T58" fmla="*/ 185 w 209"/>
                <a:gd name="T59" fmla="*/ 106 h 199"/>
                <a:gd name="T60" fmla="*/ 185 w 209"/>
                <a:gd name="T61" fmla="*/ 106 h 199"/>
                <a:gd name="T62" fmla="*/ 183 w 209"/>
                <a:gd name="T63" fmla="*/ 106 h 199"/>
                <a:gd name="T64" fmla="*/ 172 w 209"/>
                <a:gd name="T65" fmla="*/ 98 h 199"/>
                <a:gd name="T66" fmla="*/ 170 w 209"/>
                <a:gd name="T67" fmla="*/ 98 h 199"/>
                <a:gd name="T68" fmla="*/ 170 w 209"/>
                <a:gd name="T69" fmla="*/ 98 h 199"/>
                <a:gd name="T70" fmla="*/ 163 w 209"/>
                <a:gd name="T71" fmla="*/ 82 h 199"/>
                <a:gd name="T72" fmla="*/ 161 w 209"/>
                <a:gd name="T73" fmla="*/ 82 h 199"/>
                <a:gd name="T74" fmla="*/ 161 w 209"/>
                <a:gd name="T75" fmla="*/ 82 h 199"/>
                <a:gd name="T76" fmla="*/ 161 w 209"/>
                <a:gd name="T77" fmla="*/ 67 h 199"/>
                <a:gd name="T78" fmla="*/ 161 w 209"/>
                <a:gd name="T79" fmla="*/ 67 h 199"/>
                <a:gd name="T80" fmla="*/ 161 w 209"/>
                <a:gd name="T81" fmla="*/ 67 h 199"/>
                <a:gd name="T82" fmla="*/ 170 w 209"/>
                <a:gd name="T83" fmla="*/ 54 h 199"/>
                <a:gd name="T84" fmla="*/ 135 w 209"/>
                <a:gd name="T85" fmla="*/ 52 h 199"/>
                <a:gd name="T86" fmla="*/ 135 w 209"/>
                <a:gd name="T87" fmla="*/ 52 h 199"/>
                <a:gd name="T88" fmla="*/ 135 w 209"/>
                <a:gd name="T89" fmla="*/ 52 h 199"/>
                <a:gd name="T90" fmla="*/ 131 w 209"/>
                <a:gd name="T91" fmla="*/ 50 h 199"/>
                <a:gd name="T92" fmla="*/ 131 w 209"/>
                <a:gd name="T93" fmla="*/ 5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9" h="199">
                  <a:moveTo>
                    <a:pt x="131" y="50"/>
                  </a:moveTo>
                  <a:lnTo>
                    <a:pt x="100" y="48"/>
                  </a:lnTo>
                  <a:lnTo>
                    <a:pt x="78" y="26"/>
                  </a:lnTo>
                  <a:lnTo>
                    <a:pt x="80" y="7"/>
                  </a:lnTo>
                  <a:lnTo>
                    <a:pt x="59" y="0"/>
                  </a:lnTo>
                  <a:lnTo>
                    <a:pt x="46" y="33"/>
                  </a:lnTo>
                  <a:lnTo>
                    <a:pt x="0" y="69"/>
                  </a:lnTo>
                  <a:lnTo>
                    <a:pt x="4" y="95"/>
                  </a:lnTo>
                  <a:lnTo>
                    <a:pt x="28" y="93"/>
                  </a:lnTo>
                  <a:lnTo>
                    <a:pt x="46" y="108"/>
                  </a:lnTo>
                  <a:lnTo>
                    <a:pt x="52" y="141"/>
                  </a:lnTo>
                  <a:lnTo>
                    <a:pt x="74" y="139"/>
                  </a:lnTo>
                  <a:lnTo>
                    <a:pt x="98" y="143"/>
                  </a:lnTo>
                  <a:lnTo>
                    <a:pt x="98" y="158"/>
                  </a:lnTo>
                  <a:lnTo>
                    <a:pt x="67" y="197"/>
                  </a:lnTo>
                  <a:lnTo>
                    <a:pt x="124" y="199"/>
                  </a:lnTo>
                  <a:lnTo>
                    <a:pt x="194" y="147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39"/>
                  </a:lnTo>
                  <a:lnTo>
                    <a:pt x="187" y="128"/>
                  </a:lnTo>
                  <a:lnTo>
                    <a:pt x="187" y="126"/>
                  </a:lnTo>
                  <a:lnTo>
                    <a:pt x="189" y="126"/>
                  </a:lnTo>
                  <a:lnTo>
                    <a:pt x="196" y="117"/>
                  </a:lnTo>
                  <a:lnTo>
                    <a:pt x="196" y="117"/>
                  </a:lnTo>
                  <a:lnTo>
                    <a:pt x="198" y="117"/>
                  </a:lnTo>
                  <a:lnTo>
                    <a:pt x="209" y="111"/>
                  </a:lnTo>
                  <a:lnTo>
                    <a:pt x="207" y="100"/>
                  </a:lnTo>
                  <a:lnTo>
                    <a:pt x="194" y="100"/>
                  </a:lnTo>
                  <a:lnTo>
                    <a:pt x="185" y="106"/>
                  </a:lnTo>
                  <a:lnTo>
                    <a:pt x="185" y="106"/>
                  </a:lnTo>
                  <a:lnTo>
                    <a:pt x="183" y="106"/>
                  </a:lnTo>
                  <a:lnTo>
                    <a:pt x="172" y="98"/>
                  </a:lnTo>
                  <a:lnTo>
                    <a:pt x="170" y="98"/>
                  </a:lnTo>
                  <a:lnTo>
                    <a:pt x="170" y="98"/>
                  </a:lnTo>
                  <a:lnTo>
                    <a:pt x="163" y="82"/>
                  </a:lnTo>
                  <a:lnTo>
                    <a:pt x="161" y="82"/>
                  </a:lnTo>
                  <a:lnTo>
                    <a:pt x="161" y="82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61" y="67"/>
                  </a:lnTo>
                  <a:lnTo>
                    <a:pt x="170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1" y="50"/>
                  </a:lnTo>
                  <a:lnTo>
                    <a:pt x="131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198">
              <a:extLst>
                <a:ext uri="{FF2B5EF4-FFF2-40B4-BE49-F238E27FC236}">
                  <a16:creationId xmlns:a16="http://schemas.microsoft.com/office/drawing/2014/main" xmlns="" id="{92A15F8A-E0AC-417B-8366-83041E6C62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8" y="1730"/>
              <a:ext cx="257" cy="217"/>
            </a:xfrm>
            <a:custGeom>
              <a:avLst/>
              <a:gdLst>
                <a:gd name="T0" fmla="*/ 96 w 257"/>
                <a:gd name="T1" fmla="*/ 4 h 217"/>
                <a:gd name="T2" fmla="*/ 92 w 257"/>
                <a:gd name="T3" fmla="*/ 13 h 217"/>
                <a:gd name="T4" fmla="*/ 52 w 257"/>
                <a:gd name="T5" fmla="*/ 35 h 217"/>
                <a:gd name="T6" fmla="*/ 33 w 257"/>
                <a:gd name="T7" fmla="*/ 65 h 217"/>
                <a:gd name="T8" fmla="*/ 13 w 257"/>
                <a:gd name="T9" fmla="*/ 106 h 217"/>
                <a:gd name="T10" fmla="*/ 11 w 257"/>
                <a:gd name="T11" fmla="*/ 141 h 217"/>
                <a:gd name="T12" fmla="*/ 17 w 257"/>
                <a:gd name="T13" fmla="*/ 160 h 217"/>
                <a:gd name="T14" fmla="*/ 2 w 257"/>
                <a:gd name="T15" fmla="*/ 180 h 217"/>
                <a:gd name="T16" fmla="*/ 0 w 257"/>
                <a:gd name="T17" fmla="*/ 193 h 217"/>
                <a:gd name="T18" fmla="*/ 2 w 257"/>
                <a:gd name="T19" fmla="*/ 193 h 217"/>
                <a:gd name="T20" fmla="*/ 37 w 257"/>
                <a:gd name="T21" fmla="*/ 195 h 217"/>
                <a:gd name="T22" fmla="*/ 52 w 257"/>
                <a:gd name="T23" fmla="*/ 188 h 217"/>
                <a:gd name="T24" fmla="*/ 52 w 257"/>
                <a:gd name="T25" fmla="*/ 188 h 217"/>
                <a:gd name="T26" fmla="*/ 52 w 257"/>
                <a:gd name="T27" fmla="*/ 188 h 217"/>
                <a:gd name="T28" fmla="*/ 81 w 257"/>
                <a:gd name="T29" fmla="*/ 191 h 217"/>
                <a:gd name="T30" fmla="*/ 96 w 257"/>
                <a:gd name="T31" fmla="*/ 175 h 217"/>
                <a:gd name="T32" fmla="*/ 98 w 257"/>
                <a:gd name="T33" fmla="*/ 175 h 217"/>
                <a:gd name="T34" fmla="*/ 98 w 257"/>
                <a:gd name="T35" fmla="*/ 175 h 217"/>
                <a:gd name="T36" fmla="*/ 120 w 257"/>
                <a:gd name="T37" fmla="*/ 175 h 217"/>
                <a:gd name="T38" fmla="*/ 120 w 257"/>
                <a:gd name="T39" fmla="*/ 175 h 217"/>
                <a:gd name="T40" fmla="*/ 120 w 257"/>
                <a:gd name="T41" fmla="*/ 178 h 217"/>
                <a:gd name="T42" fmla="*/ 129 w 257"/>
                <a:gd name="T43" fmla="*/ 208 h 217"/>
                <a:gd name="T44" fmla="*/ 137 w 257"/>
                <a:gd name="T45" fmla="*/ 204 h 217"/>
                <a:gd name="T46" fmla="*/ 137 w 257"/>
                <a:gd name="T47" fmla="*/ 204 h 217"/>
                <a:gd name="T48" fmla="*/ 139 w 257"/>
                <a:gd name="T49" fmla="*/ 204 h 217"/>
                <a:gd name="T50" fmla="*/ 155 w 257"/>
                <a:gd name="T51" fmla="*/ 206 h 217"/>
                <a:gd name="T52" fmla="*/ 155 w 257"/>
                <a:gd name="T53" fmla="*/ 206 h 217"/>
                <a:gd name="T54" fmla="*/ 155 w 257"/>
                <a:gd name="T55" fmla="*/ 206 h 217"/>
                <a:gd name="T56" fmla="*/ 163 w 257"/>
                <a:gd name="T57" fmla="*/ 217 h 217"/>
                <a:gd name="T58" fmla="*/ 205 w 257"/>
                <a:gd name="T59" fmla="*/ 212 h 217"/>
                <a:gd name="T60" fmla="*/ 229 w 257"/>
                <a:gd name="T61" fmla="*/ 197 h 217"/>
                <a:gd name="T62" fmla="*/ 255 w 257"/>
                <a:gd name="T63" fmla="*/ 158 h 217"/>
                <a:gd name="T64" fmla="*/ 257 w 257"/>
                <a:gd name="T65" fmla="*/ 149 h 217"/>
                <a:gd name="T66" fmla="*/ 238 w 257"/>
                <a:gd name="T67" fmla="*/ 128 h 217"/>
                <a:gd name="T68" fmla="*/ 238 w 257"/>
                <a:gd name="T69" fmla="*/ 128 h 217"/>
                <a:gd name="T70" fmla="*/ 238 w 257"/>
                <a:gd name="T71" fmla="*/ 126 h 217"/>
                <a:gd name="T72" fmla="*/ 235 w 257"/>
                <a:gd name="T73" fmla="*/ 106 h 217"/>
                <a:gd name="T74" fmla="*/ 190 w 257"/>
                <a:gd name="T75" fmla="*/ 97 h 217"/>
                <a:gd name="T76" fmla="*/ 187 w 257"/>
                <a:gd name="T77" fmla="*/ 97 h 217"/>
                <a:gd name="T78" fmla="*/ 187 w 257"/>
                <a:gd name="T79" fmla="*/ 97 h 217"/>
                <a:gd name="T80" fmla="*/ 166 w 257"/>
                <a:gd name="T81" fmla="*/ 82 h 217"/>
                <a:gd name="T82" fmla="*/ 166 w 257"/>
                <a:gd name="T83" fmla="*/ 80 h 217"/>
                <a:gd name="T84" fmla="*/ 166 w 257"/>
                <a:gd name="T85" fmla="*/ 80 h 217"/>
                <a:gd name="T86" fmla="*/ 135 w 257"/>
                <a:gd name="T87" fmla="*/ 26 h 217"/>
                <a:gd name="T88" fmla="*/ 135 w 257"/>
                <a:gd name="T89" fmla="*/ 26 h 217"/>
                <a:gd name="T90" fmla="*/ 135 w 257"/>
                <a:gd name="T91" fmla="*/ 26 h 217"/>
                <a:gd name="T92" fmla="*/ 126 w 257"/>
                <a:gd name="T93" fmla="*/ 4 h 217"/>
                <a:gd name="T94" fmla="*/ 118 w 257"/>
                <a:gd name="T95" fmla="*/ 0 h 217"/>
                <a:gd name="T96" fmla="*/ 100 w 257"/>
                <a:gd name="T97" fmla="*/ 4 h 217"/>
                <a:gd name="T98" fmla="*/ 100 w 257"/>
                <a:gd name="T99" fmla="*/ 4 h 217"/>
                <a:gd name="T100" fmla="*/ 100 w 257"/>
                <a:gd name="T101" fmla="*/ 4 h 217"/>
                <a:gd name="T102" fmla="*/ 96 w 257"/>
                <a:gd name="T103" fmla="*/ 4 h 217"/>
                <a:gd name="T104" fmla="*/ 96 w 257"/>
                <a:gd name="T105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7" h="217">
                  <a:moveTo>
                    <a:pt x="96" y="4"/>
                  </a:moveTo>
                  <a:lnTo>
                    <a:pt x="92" y="13"/>
                  </a:lnTo>
                  <a:lnTo>
                    <a:pt x="52" y="35"/>
                  </a:lnTo>
                  <a:lnTo>
                    <a:pt x="33" y="65"/>
                  </a:lnTo>
                  <a:lnTo>
                    <a:pt x="13" y="106"/>
                  </a:lnTo>
                  <a:lnTo>
                    <a:pt x="11" y="141"/>
                  </a:lnTo>
                  <a:lnTo>
                    <a:pt x="17" y="160"/>
                  </a:lnTo>
                  <a:lnTo>
                    <a:pt x="2" y="180"/>
                  </a:lnTo>
                  <a:lnTo>
                    <a:pt x="0" y="193"/>
                  </a:lnTo>
                  <a:lnTo>
                    <a:pt x="2" y="193"/>
                  </a:lnTo>
                  <a:lnTo>
                    <a:pt x="37" y="195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52" y="188"/>
                  </a:lnTo>
                  <a:lnTo>
                    <a:pt x="81" y="191"/>
                  </a:lnTo>
                  <a:lnTo>
                    <a:pt x="96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120" y="175"/>
                  </a:lnTo>
                  <a:lnTo>
                    <a:pt x="120" y="175"/>
                  </a:lnTo>
                  <a:lnTo>
                    <a:pt x="120" y="178"/>
                  </a:lnTo>
                  <a:lnTo>
                    <a:pt x="129" y="208"/>
                  </a:lnTo>
                  <a:lnTo>
                    <a:pt x="137" y="204"/>
                  </a:lnTo>
                  <a:lnTo>
                    <a:pt x="137" y="204"/>
                  </a:lnTo>
                  <a:lnTo>
                    <a:pt x="139" y="204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55" y="206"/>
                  </a:lnTo>
                  <a:lnTo>
                    <a:pt x="163" y="217"/>
                  </a:lnTo>
                  <a:lnTo>
                    <a:pt x="205" y="212"/>
                  </a:lnTo>
                  <a:lnTo>
                    <a:pt x="229" y="197"/>
                  </a:lnTo>
                  <a:lnTo>
                    <a:pt x="255" y="158"/>
                  </a:lnTo>
                  <a:lnTo>
                    <a:pt x="257" y="149"/>
                  </a:lnTo>
                  <a:lnTo>
                    <a:pt x="238" y="128"/>
                  </a:lnTo>
                  <a:lnTo>
                    <a:pt x="238" y="128"/>
                  </a:lnTo>
                  <a:lnTo>
                    <a:pt x="238" y="126"/>
                  </a:lnTo>
                  <a:lnTo>
                    <a:pt x="235" y="106"/>
                  </a:lnTo>
                  <a:lnTo>
                    <a:pt x="190" y="97"/>
                  </a:lnTo>
                  <a:lnTo>
                    <a:pt x="187" y="97"/>
                  </a:lnTo>
                  <a:lnTo>
                    <a:pt x="187" y="97"/>
                  </a:lnTo>
                  <a:lnTo>
                    <a:pt x="166" y="82"/>
                  </a:lnTo>
                  <a:lnTo>
                    <a:pt x="166" y="80"/>
                  </a:lnTo>
                  <a:lnTo>
                    <a:pt x="166" y="80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26" y="4"/>
                  </a:lnTo>
                  <a:lnTo>
                    <a:pt x="118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96" y="4"/>
                  </a:lnTo>
                  <a:lnTo>
                    <a:pt x="96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199">
              <a:extLst>
                <a:ext uri="{FF2B5EF4-FFF2-40B4-BE49-F238E27FC236}">
                  <a16:creationId xmlns:a16="http://schemas.microsoft.com/office/drawing/2014/main" xmlns="" id="{A9E2A500-5E73-4615-ADEF-70C302D39E2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9" y="2027"/>
              <a:ext cx="155" cy="188"/>
            </a:xfrm>
            <a:custGeom>
              <a:avLst/>
              <a:gdLst>
                <a:gd name="T0" fmla="*/ 0 w 155"/>
                <a:gd name="T1" fmla="*/ 50 h 188"/>
                <a:gd name="T2" fmla="*/ 50 w 155"/>
                <a:gd name="T3" fmla="*/ 115 h 188"/>
                <a:gd name="T4" fmla="*/ 50 w 155"/>
                <a:gd name="T5" fmla="*/ 115 h 188"/>
                <a:gd name="T6" fmla="*/ 50 w 155"/>
                <a:gd name="T7" fmla="*/ 115 h 188"/>
                <a:gd name="T8" fmla="*/ 50 w 155"/>
                <a:gd name="T9" fmla="*/ 149 h 188"/>
                <a:gd name="T10" fmla="*/ 59 w 155"/>
                <a:gd name="T11" fmla="*/ 158 h 188"/>
                <a:gd name="T12" fmla="*/ 59 w 155"/>
                <a:gd name="T13" fmla="*/ 158 h 188"/>
                <a:gd name="T14" fmla="*/ 59 w 155"/>
                <a:gd name="T15" fmla="*/ 158 h 188"/>
                <a:gd name="T16" fmla="*/ 59 w 155"/>
                <a:gd name="T17" fmla="*/ 175 h 188"/>
                <a:gd name="T18" fmla="*/ 61 w 155"/>
                <a:gd name="T19" fmla="*/ 182 h 188"/>
                <a:gd name="T20" fmla="*/ 77 w 155"/>
                <a:gd name="T21" fmla="*/ 188 h 188"/>
                <a:gd name="T22" fmla="*/ 101 w 155"/>
                <a:gd name="T23" fmla="*/ 188 h 188"/>
                <a:gd name="T24" fmla="*/ 107 w 155"/>
                <a:gd name="T25" fmla="*/ 175 h 188"/>
                <a:gd name="T26" fmla="*/ 107 w 155"/>
                <a:gd name="T27" fmla="*/ 175 h 188"/>
                <a:gd name="T28" fmla="*/ 107 w 155"/>
                <a:gd name="T29" fmla="*/ 175 h 188"/>
                <a:gd name="T30" fmla="*/ 151 w 155"/>
                <a:gd name="T31" fmla="*/ 141 h 188"/>
                <a:gd name="T32" fmla="*/ 155 w 155"/>
                <a:gd name="T33" fmla="*/ 106 h 188"/>
                <a:gd name="T34" fmla="*/ 138 w 155"/>
                <a:gd name="T35" fmla="*/ 89 h 188"/>
                <a:gd name="T36" fmla="*/ 138 w 155"/>
                <a:gd name="T37" fmla="*/ 89 h 188"/>
                <a:gd name="T38" fmla="*/ 138 w 155"/>
                <a:gd name="T39" fmla="*/ 86 h 188"/>
                <a:gd name="T40" fmla="*/ 127 w 155"/>
                <a:gd name="T41" fmla="*/ 67 h 188"/>
                <a:gd name="T42" fmla="*/ 127 w 155"/>
                <a:gd name="T43" fmla="*/ 67 h 188"/>
                <a:gd name="T44" fmla="*/ 127 w 155"/>
                <a:gd name="T45" fmla="*/ 65 h 188"/>
                <a:gd name="T46" fmla="*/ 129 w 155"/>
                <a:gd name="T47" fmla="*/ 30 h 188"/>
                <a:gd name="T48" fmla="*/ 70 w 155"/>
                <a:gd name="T49" fmla="*/ 0 h 188"/>
                <a:gd name="T50" fmla="*/ 0 w 155"/>
                <a:gd name="T51" fmla="*/ 50 h 188"/>
                <a:gd name="T52" fmla="*/ 0 w 155"/>
                <a:gd name="T53" fmla="*/ 50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5" h="188">
                  <a:moveTo>
                    <a:pt x="0" y="50"/>
                  </a:move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49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58"/>
                  </a:lnTo>
                  <a:lnTo>
                    <a:pt x="59" y="175"/>
                  </a:lnTo>
                  <a:lnTo>
                    <a:pt x="61" y="182"/>
                  </a:lnTo>
                  <a:lnTo>
                    <a:pt x="77" y="188"/>
                  </a:lnTo>
                  <a:lnTo>
                    <a:pt x="101" y="188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07" y="175"/>
                  </a:lnTo>
                  <a:lnTo>
                    <a:pt x="151" y="141"/>
                  </a:lnTo>
                  <a:lnTo>
                    <a:pt x="155" y="106"/>
                  </a:lnTo>
                  <a:lnTo>
                    <a:pt x="138" y="89"/>
                  </a:lnTo>
                  <a:lnTo>
                    <a:pt x="138" y="89"/>
                  </a:lnTo>
                  <a:lnTo>
                    <a:pt x="138" y="86"/>
                  </a:lnTo>
                  <a:lnTo>
                    <a:pt x="127" y="67"/>
                  </a:lnTo>
                  <a:lnTo>
                    <a:pt x="127" y="67"/>
                  </a:lnTo>
                  <a:lnTo>
                    <a:pt x="127" y="65"/>
                  </a:lnTo>
                  <a:lnTo>
                    <a:pt x="129" y="30"/>
                  </a:lnTo>
                  <a:lnTo>
                    <a:pt x="70" y="0"/>
                  </a:lnTo>
                  <a:lnTo>
                    <a:pt x="0" y="50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00">
              <a:extLst>
                <a:ext uri="{FF2B5EF4-FFF2-40B4-BE49-F238E27FC236}">
                  <a16:creationId xmlns:a16="http://schemas.microsoft.com/office/drawing/2014/main" xmlns="" id="{D1F79074-1A9C-4F1D-A81D-F4C7768A47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2172"/>
              <a:ext cx="178" cy="171"/>
            </a:xfrm>
            <a:custGeom>
              <a:avLst/>
              <a:gdLst>
                <a:gd name="T0" fmla="*/ 74 w 178"/>
                <a:gd name="T1" fmla="*/ 0 h 171"/>
                <a:gd name="T2" fmla="*/ 32 w 178"/>
                <a:gd name="T3" fmla="*/ 35 h 171"/>
                <a:gd name="T4" fmla="*/ 24 w 178"/>
                <a:gd name="T5" fmla="*/ 48 h 171"/>
                <a:gd name="T6" fmla="*/ 24 w 178"/>
                <a:gd name="T7" fmla="*/ 48 h 171"/>
                <a:gd name="T8" fmla="*/ 22 w 178"/>
                <a:gd name="T9" fmla="*/ 48 h 171"/>
                <a:gd name="T10" fmla="*/ 0 w 178"/>
                <a:gd name="T11" fmla="*/ 48 h 171"/>
                <a:gd name="T12" fmla="*/ 2 w 178"/>
                <a:gd name="T13" fmla="*/ 63 h 171"/>
                <a:gd name="T14" fmla="*/ 15 w 178"/>
                <a:gd name="T15" fmla="*/ 82 h 171"/>
                <a:gd name="T16" fmla="*/ 39 w 178"/>
                <a:gd name="T17" fmla="*/ 85 h 171"/>
                <a:gd name="T18" fmla="*/ 39 w 178"/>
                <a:gd name="T19" fmla="*/ 85 h 171"/>
                <a:gd name="T20" fmla="*/ 41 w 178"/>
                <a:gd name="T21" fmla="*/ 85 h 171"/>
                <a:gd name="T22" fmla="*/ 48 w 178"/>
                <a:gd name="T23" fmla="*/ 98 h 171"/>
                <a:gd name="T24" fmla="*/ 48 w 178"/>
                <a:gd name="T25" fmla="*/ 98 h 171"/>
                <a:gd name="T26" fmla="*/ 48 w 178"/>
                <a:gd name="T27" fmla="*/ 98 h 171"/>
                <a:gd name="T28" fmla="*/ 48 w 178"/>
                <a:gd name="T29" fmla="*/ 111 h 171"/>
                <a:gd name="T30" fmla="*/ 61 w 178"/>
                <a:gd name="T31" fmla="*/ 117 h 171"/>
                <a:gd name="T32" fmla="*/ 63 w 178"/>
                <a:gd name="T33" fmla="*/ 119 h 171"/>
                <a:gd name="T34" fmla="*/ 63 w 178"/>
                <a:gd name="T35" fmla="*/ 119 h 171"/>
                <a:gd name="T36" fmla="*/ 67 w 178"/>
                <a:gd name="T37" fmla="*/ 141 h 171"/>
                <a:gd name="T38" fmla="*/ 104 w 178"/>
                <a:gd name="T39" fmla="*/ 171 h 171"/>
                <a:gd name="T40" fmla="*/ 122 w 178"/>
                <a:gd name="T41" fmla="*/ 163 h 171"/>
                <a:gd name="T42" fmla="*/ 126 w 178"/>
                <a:gd name="T43" fmla="*/ 152 h 171"/>
                <a:gd name="T44" fmla="*/ 124 w 178"/>
                <a:gd name="T45" fmla="*/ 132 h 171"/>
                <a:gd name="T46" fmla="*/ 117 w 178"/>
                <a:gd name="T47" fmla="*/ 121 h 171"/>
                <a:gd name="T48" fmla="*/ 117 w 178"/>
                <a:gd name="T49" fmla="*/ 121 h 171"/>
                <a:gd name="T50" fmla="*/ 120 w 178"/>
                <a:gd name="T51" fmla="*/ 119 h 171"/>
                <a:gd name="T52" fmla="*/ 126 w 178"/>
                <a:gd name="T53" fmla="*/ 106 h 171"/>
                <a:gd name="T54" fmla="*/ 126 w 178"/>
                <a:gd name="T55" fmla="*/ 106 h 171"/>
                <a:gd name="T56" fmla="*/ 128 w 178"/>
                <a:gd name="T57" fmla="*/ 106 h 171"/>
                <a:gd name="T58" fmla="*/ 159 w 178"/>
                <a:gd name="T59" fmla="*/ 91 h 171"/>
                <a:gd name="T60" fmla="*/ 178 w 178"/>
                <a:gd name="T61" fmla="*/ 74 h 171"/>
                <a:gd name="T62" fmla="*/ 178 w 178"/>
                <a:gd name="T63" fmla="*/ 54 h 171"/>
                <a:gd name="T64" fmla="*/ 174 w 178"/>
                <a:gd name="T65" fmla="*/ 39 h 171"/>
                <a:gd name="T66" fmla="*/ 157 w 178"/>
                <a:gd name="T67" fmla="*/ 26 h 171"/>
                <a:gd name="T68" fmla="*/ 157 w 178"/>
                <a:gd name="T69" fmla="*/ 26 h 171"/>
                <a:gd name="T70" fmla="*/ 157 w 178"/>
                <a:gd name="T71" fmla="*/ 26 h 171"/>
                <a:gd name="T72" fmla="*/ 150 w 178"/>
                <a:gd name="T73" fmla="*/ 11 h 171"/>
                <a:gd name="T74" fmla="*/ 135 w 178"/>
                <a:gd name="T75" fmla="*/ 9 h 171"/>
                <a:gd name="T76" fmla="*/ 111 w 178"/>
                <a:gd name="T77" fmla="*/ 19 h 171"/>
                <a:gd name="T78" fmla="*/ 109 w 178"/>
                <a:gd name="T79" fmla="*/ 22 h 171"/>
                <a:gd name="T80" fmla="*/ 109 w 178"/>
                <a:gd name="T81" fmla="*/ 22 h 171"/>
                <a:gd name="T82" fmla="*/ 91 w 178"/>
                <a:gd name="T83" fmla="*/ 19 h 171"/>
                <a:gd name="T84" fmla="*/ 89 w 178"/>
                <a:gd name="T85" fmla="*/ 19 h 171"/>
                <a:gd name="T86" fmla="*/ 89 w 178"/>
                <a:gd name="T87" fmla="*/ 17 h 171"/>
                <a:gd name="T88" fmla="*/ 74 w 178"/>
                <a:gd name="T89" fmla="*/ 0 h 171"/>
                <a:gd name="T90" fmla="*/ 74 w 178"/>
                <a:gd name="T9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78" h="171">
                  <a:moveTo>
                    <a:pt x="74" y="0"/>
                  </a:moveTo>
                  <a:lnTo>
                    <a:pt x="32" y="35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0" y="48"/>
                  </a:lnTo>
                  <a:lnTo>
                    <a:pt x="2" y="63"/>
                  </a:lnTo>
                  <a:lnTo>
                    <a:pt x="15" y="82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1" y="85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98"/>
                  </a:lnTo>
                  <a:lnTo>
                    <a:pt x="48" y="111"/>
                  </a:lnTo>
                  <a:lnTo>
                    <a:pt x="61" y="117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7" y="141"/>
                  </a:lnTo>
                  <a:lnTo>
                    <a:pt x="104" y="171"/>
                  </a:lnTo>
                  <a:lnTo>
                    <a:pt x="122" y="163"/>
                  </a:lnTo>
                  <a:lnTo>
                    <a:pt x="126" y="152"/>
                  </a:lnTo>
                  <a:lnTo>
                    <a:pt x="124" y="132"/>
                  </a:lnTo>
                  <a:lnTo>
                    <a:pt x="117" y="121"/>
                  </a:lnTo>
                  <a:lnTo>
                    <a:pt x="117" y="121"/>
                  </a:lnTo>
                  <a:lnTo>
                    <a:pt x="120" y="119"/>
                  </a:lnTo>
                  <a:lnTo>
                    <a:pt x="126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59" y="91"/>
                  </a:lnTo>
                  <a:lnTo>
                    <a:pt x="178" y="74"/>
                  </a:lnTo>
                  <a:lnTo>
                    <a:pt x="178" y="54"/>
                  </a:lnTo>
                  <a:lnTo>
                    <a:pt x="174" y="39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0" y="11"/>
                  </a:lnTo>
                  <a:lnTo>
                    <a:pt x="135" y="9"/>
                  </a:lnTo>
                  <a:lnTo>
                    <a:pt x="111" y="19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91" y="19"/>
                  </a:lnTo>
                  <a:lnTo>
                    <a:pt x="89" y="19"/>
                  </a:lnTo>
                  <a:lnTo>
                    <a:pt x="89" y="17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01">
              <a:extLst>
                <a:ext uri="{FF2B5EF4-FFF2-40B4-BE49-F238E27FC236}">
                  <a16:creationId xmlns:a16="http://schemas.microsoft.com/office/drawing/2014/main" xmlns="" id="{793AF5A5-72EB-4CEE-9206-5E3E22BF6C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2" y="2244"/>
              <a:ext cx="175" cy="199"/>
            </a:xfrm>
            <a:custGeom>
              <a:avLst/>
              <a:gdLst>
                <a:gd name="T0" fmla="*/ 79 w 175"/>
                <a:gd name="T1" fmla="*/ 0 h 199"/>
                <a:gd name="T2" fmla="*/ 79 w 175"/>
                <a:gd name="T3" fmla="*/ 4 h 199"/>
                <a:gd name="T4" fmla="*/ 79 w 175"/>
                <a:gd name="T5" fmla="*/ 4 h 199"/>
                <a:gd name="T6" fmla="*/ 77 w 175"/>
                <a:gd name="T7" fmla="*/ 4 h 199"/>
                <a:gd name="T8" fmla="*/ 57 w 175"/>
                <a:gd name="T9" fmla="*/ 23 h 199"/>
                <a:gd name="T10" fmla="*/ 57 w 175"/>
                <a:gd name="T11" fmla="*/ 23 h 199"/>
                <a:gd name="T12" fmla="*/ 57 w 175"/>
                <a:gd name="T13" fmla="*/ 23 h 199"/>
                <a:gd name="T14" fmla="*/ 26 w 175"/>
                <a:gd name="T15" fmla="*/ 36 h 199"/>
                <a:gd name="T16" fmla="*/ 18 w 175"/>
                <a:gd name="T17" fmla="*/ 49 h 199"/>
                <a:gd name="T18" fmla="*/ 24 w 175"/>
                <a:gd name="T19" fmla="*/ 60 h 199"/>
                <a:gd name="T20" fmla="*/ 24 w 175"/>
                <a:gd name="T21" fmla="*/ 60 h 199"/>
                <a:gd name="T22" fmla="*/ 24 w 175"/>
                <a:gd name="T23" fmla="*/ 60 h 199"/>
                <a:gd name="T24" fmla="*/ 26 w 175"/>
                <a:gd name="T25" fmla="*/ 80 h 199"/>
                <a:gd name="T26" fmla="*/ 26 w 175"/>
                <a:gd name="T27" fmla="*/ 80 h 199"/>
                <a:gd name="T28" fmla="*/ 26 w 175"/>
                <a:gd name="T29" fmla="*/ 80 h 199"/>
                <a:gd name="T30" fmla="*/ 22 w 175"/>
                <a:gd name="T31" fmla="*/ 93 h 199"/>
                <a:gd name="T32" fmla="*/ 20 w 175"/>
                <a:gd name="T33" fmla="*/ 93 h 199"/>
                <a:gd name="T34" fmla="*/ 20 w 175"/>
                <a:gd name="T35" fmla="*/ 95 h 199"/>
                <a:gd name="T36" fmla="*/ 0 w 175"/>
                <a:gd name="T37" fmla="*/ 104 h 199"/>
                <a:gd name="T38" fmla="*/ 0 w 175"/>
                <a:gd name="T39" fmla="*/ 134 h 199"/>
                <a:gd name="T40" fmla="*/ 18 w 175"/>
                <a:gd name="T41" fmla="*/ 147 h 199"/>
                <a:gd name="T42" fmla="*/ 18 w 175"/>
                <a:gd name="T43" fmla="*/ 149 h 199"/>
                <a:gd name="T44" fmla="*/ 18 w 175"/>
                <a:gd name="T45" fmla="*/ 149 h 199"/>
                <a:gd name="T46" fmla="*/ 31 w 175"/>
                <a:gd name="T47" fmla="*/ 160 h 199"/>
                <a:gd name="T48" fmla="*/ 31 w 175"/>
                <a:gd name="T49" fmla="*/ 162 h 199"/>
                <a:gd name="T50" fmla="*/ 31 w 175"/>
                <a:gd name="T51" fmla="*/ 162 h 199"/>
                <a:gd name="T52" fmla="*/ 33 w 175"/>
                <a:gd name="T53" fmla="*/ 184 h 199"/>
                <a:gd name="T54" fmla="*/ 53 w 175"/>
                <a:gd name="T55" fmla="*/ 199 h 199"/>
                <a:gd name="T56" fmla="*/ 81 w 175"/>
                <a:gd name="T57" fmla="*/ 192 h 199"/>
                <a:gd name="T58" fmla="*/ 135 w 175"/>
                <a:gd name="T59" fmla="*/ 164 h 199"/>
                <a:gd name="T60" fmla="*/ 144 w 175"/>
                <a:gd name="T61" fmla="*/ 156 h 199"/>
                <a:gd name="T62" fmla="*/ 144 w 175"/>
                <a:gd name="T63" fmla="*/ 108 h 199"/>
                <a:gd name="T64" fmla="*/ 144 w 175"/>
                <a:gd name="T65" fmla="*/ 108 h 199"/>
                <a:gd name="T66" fmla="*/ 144 w 175"/>
                <a:gd name="T67" fmla="*/ 108 h 199"/>
                <a:gd name="T68" fmla="*/ 149 w 175"/>
                <a:gd name="T69" fmla="*/ 78 h 199"/>
                <a:gd name="T70" fmla="*/ 149 w 175"/>
                <a:gd name="T71" fmla="*/ 75 h 199"/>
                <a:gd name="T72" fmla="*/ 149 w 175"/>
                <a:gd name="T73" fmla="*/ 75 h 199"/>
                <a:gd name="T74" fmla="*/ 175 w 175"/>
                <a:gd name="T75" fmla="*/ 47 h 199"/>
                <a:gd name="T76" fmla="*/ 155 w 175"/>
                <a:gd name="T77" fmla="*/ 26 h 199"/>
                <a:gd name="T78" fmla="*/ 142 w 175"/>
                <a:gd name="T79" fmla="*/ 32 h 199"/>
                <a:gd name="T80" fmla="*/ 142 w 175"/>
                <a:gd name="T81" fmla="*/ 32 h 199"/>
                <a:gd name="T82" fmla="*/ 142 w 175"/>
                <a:gd name="T83" fmla="*/ 32 h 199"/>
                <a:gd name="T84" fmla="*/ 131 w 175"/>
                <a:gd name="T85" fmla="*/ 36 h 199"/>
                <a:gd name="T86" fmla="*/ 131 w 175"/>
                <a:gd name="T87" fmla="*/ 36 h 199"/>
                <a:gd name="T88" fmla="*/ 131 w 175"/>
                <a:gd name="T89" fmla="*/ 36 h 199"/>
                <a:gd name="T90" fmla="*/ 116 w 175"/>
                <a:gd name="T91" fmla="*/ 28 h 199"/>
                <a:gd name="T92" fmla="*/ 114 w 175"/>
                <a:gd name="T93" fmla="*/ 26 h 199"/>
                <a:gd name="T94" fmla="*/ 114 w 175"/>
                <a:gd name="T95" fmla="*/ 26 h 199"/>
                <a:gd name="T96" fmla="*/ 101 w 175"/>
                <a:gd name="T97" fmla="*/ 2 h 199"/>
                <a:gd name="T98" fmla="*/ 79 w 175"/>
                <a:gd name="T99" fmla="*/ 0 h 199"/>
                <a:gd name="T100" fmla="*/ 79 w 175"/>
                <a:gd name="T101" fmla="*/ 0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75" h="199">
                  <a:moveTo>
                    <a:pt x="79" y="0"/>
                  </a:moveTo>
                  <a:lnTo>
                    <a:pt x="79" y="4"/>
                  </a:lnTo>
                  <a:lnTo>
                    <a:pt x="79" y="4"/>
                  </a:lnTo>
                  <a:lnTo>
                    <a:pt x="77" y="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26" y="36"/>
                  </a:lnTo>
                  <a:lnTo>
                    <a:pt x="18" y="49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2" y="93"/>
                  </a:lnTo>
                  <a:lnTo>
                    <a:pt x="20" y="93"/>
                  </a:lnTo>
                  <a:lnTo>
                    <a:pt x="20" y="95"/>
                  </a:lnTo>
                  <a:lnTo>
                    <a:pt x="0" y="104"/>
                  </a:lnTo>
                  <a:lnTo>
                    <a:pt x="0" y="134"/>
                  </a:lnTo>
                  <a:lnTo>
                    <a:pt x="18" y="147"/>
                  </a:lnTo>
                  <a:lnTo>
                    <a:pt x="18" y="149"/>
                  </a:lnTo>
                  <a:lnTo>
                    <a:pt x="18" y="149"/>
                  </a:lnTo>
                  <a:lnTo>
                    <a:pt x="31" y="160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3" y="184"/>
                  </a:lnTo>
                  <a:lnTo>
                    <a:pt x="53" y="199"/>
                  </a:lnTo>
                  <a:lnTo>
                    <a:pt x="81" y="192"/>
                  </a:lnTo>
                  <a:lnTo>
                    <a:pt x="135" y="164"/>
                  </a:lnTo>
                  <a:lnTo>
                    <a:pt x="144" y="156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9" y="78"/>
                  </a:lnTo>
                  <a:lnTo>
                    <a:pt x="149" y="75"/>
                  </a:lnTo>
                  <a:lnTo>
                    <a:pt x="149" y="75"/>
                  </a:lnTo>
                  <a:lnTo>
                    <a:pt x="175" y="47"/>
                  </a:lnTo>
                  <a:lnTo>
                    <a:pt x="155" y="26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42" y="32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31" y="36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01" y="2"/>
                  </a:lnTo>
                  <a:lnTo>
                    <a:pt x="79" y="0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02">
              <a:extLst>
                <a:ext uri="{FF2B5EF4-FFF2-40B4-BE49-F238E27FC236}">
                  <a16:creationId xmlns:a16="http://schemas.microsoft.com/office/drawing/2014/main" xmlns="" id="{EAD88368-FD7D-4AFF-90E4-7CC00F269AB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0" y="2035"/>
              <a:ext cx="148" cy="154"/>
            </a:xfrm>
            <a:custGeom>
              <a:avLst/>
              <a:gdLst>
                <a:gd name="T0" fmla="*/ 2 w 148"/>
                <a:gd name="T1" fmla="*/ 22 h 154"/>
                <a:gd name="T2" fmla="*/ 0 w 148"/>
                <a:gd name="T3" fmla="*/ 57 h 154"/>
                <a:gd name="T4" fmla="*/ 9 w 148"/>
                <a:gd name="T5" fmla="*/ 76 h 154"/>
                <a:gd name="T6" fmla="*/ 28 w 148"/>
                <a:gd name="T7" fmla="*/ 96 h 154"/>
                <a:gd name="T8" fmla="*/ 28 w 148"/>
                <a:gd name="T9" fmla="*/ 96 h 154"/>
                <a:gd name="T10" fmla="*/ 28 w 148"/>
                <a:gd name="T11" fmla="*/ 96 h 154"/>
                <a:gd name="T12" fmla="*/ 24 w 148"/>
                <a:gd name="T13" fmla="*/ 133 h 154"/>
                <a:gd name="T14" fmla="*/ 39 w 148"/>
                <a:gd name="T15" fmla="*/ 152 h 154"/>
                <a:gd name="T16" fmla="*/ 57 w 148"/>
                <a:gd name="T17" fmla="*/ 154 h 154"/>
                <a:gd name="T18" fmla="*/ 83 w 148"/>
                <a:gd name="T19" fmla="*/ 141 h 154"/>
                <a:gd name="T20" fmla="*/ 83 w 148"/>
                <a:gd name="T21" fmla="*/ 141 h 154"/>
                <a:gd name="T22" fmla="*/ 83 w 148"/>
                <a:gd name="T23" fmla="*/ 141 h 154"/>
                <a:gd name="T24" fmla="*/ 98 w 148"/>
                <a:gd name="T25" fmla="*/ 143 h 154"/>
                <a:gd name="T26" fmla="*/ 100 w 148"/>
                <a:gd name="T27" fmla="*/ 135 h 154"/>
                <a:gd name="T28" fmla="*/ 100 w 148"/>
                <a:gd name="T29" fmla="*/ 133 h 154"/>
                <a:gd name="T30" fmla="*/ 100 w 148"/>
                <a:gd name="T31" fmla="*/ 133 h 154"/>
                <a:gd name="T32" fmla="*/ 111 w 148"/>
                <a:gd name="T33" fmla="*/ 117 h 154"/>
                <a:gd name="T34" fmla="*/ 111 w 148"/>
                <a:gd name="T35" fmla="*/ 117 h 154"/>
                <a:gd name="T36" fmla="*/ 111 w 148"/>
                <a:gd name="T37" fmla="*/ 117 h 154"/>
                <a:gd name="T38" fmla="*/ 135 w 148"/>
                <a:gd name="T39" fmla="*/ 94 h 154"/>
                <a:gd name="T40" fmla="*/ 135 w 148"/>
                <a:gd name="T41" fmla="*/ 78 h 154"/>
                <a:gd name="T42" fmla="*/ 135 w 148"/>
                <a:gd name="T43" fmla="*/ 76 h 154"/>
                <a:gd name="T44" fmla="*/ 135 w 148"/>
                <a:gd name="T45" fmla="*/ 76 h 154"/>
                <a:gd name="T46" fmla="*/ 148 w 148"/>
                <a:gd name="T47" fmla="*/ 63 h 154"/>
                <a:gd name="T48" fmla="*/ 146 w 148"/>
                <a:gd name="T49" fmla="*/ 35 h 154"/>
                <a:gd name="T50" fmla="*/ 131 w 148"/>
                <a:gd name="T51" fmla="*/ 24 h 154"/>
                <a:gd name="T52" fmla="*/ 129 w 148"/>
                <a:gd name="T53" fmla="*/ 24 h 154"/>
                <a:gd name="T54" fmla="*/ 129 w 148"/>
                <a:gd name="T55" fmla="*/ 24 h 154"/>
                <a:gd name="T56" fmla="*/ 122 w 148"/>
                <a:gd name="T57" fmla="*/ 9 h 154"/>
                <a:gd name="T58" fmla="*/ 87 w 148"/>
                <a:gd name="T59" fmla="*/ 11 h 154"/>
                <a:gd name="T60" fmla="*/ 78 w 148"/>
                <a:gd name="T61" fmla="*/ 22 h 154"/>
                <a:gd name="T62" fmla="*/ 78 w 148"/>
                <a:gd name="T63" fmla="*/ 22 h 154"/>
                <a:gd name="T64" fmla="*/ 76 w 148"/>
                <a:gd name="T65" fmla="*/ 22 h 154"/>
                <a:gd name="T66" fmla="*/ 46 w 148"/>
                <a:gd name="T67" fmla="*/ 3 h 154"/>
                <a:gd name="T68" fmla="*/ 37 w 148"/>
                <a:gd name="T69" fmla="*/ 0 h 154"/>
                <a:gd name="T70" fmla="*/ 2 w 148"/>
                <a:gd name="T71" fmla="*/ 22 h 154"/>
                <a:gd name="T72" fmla="*/ 2 w 148"/>
                <a:gd name="T73" fmla="*/ 22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8" h="154">
                  <a:moveTo>
                    <a:pt x="2" y="22"/>
                  </a:moveTo>
                  <a:lnTo>
                    <a:pt x="0" y="57"/>
                  </a:lnTo>
                  <a:lnTo>
                    <a:pt x="9" y="7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133"/>
                  </a:lnTo>
                  <a:lnTo>
                    <a:pt x="39" y="152"/>
                  </a:lnTo>
                  <a:lnTo>
                    <a:pt x="57" y="154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83" y="141"/>
                  </a:lnTo>
                  <a:lnTo>
                    <a:pt x="98" y="143"/>
                  </a:lnTo>
                  <a:lnTo>
                    <a:pt x="100" y="135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35" y="94"/>
                  </a:lnTo>
                  <a:lnTo>
                    <a:pt x="135" y="78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48" y="63"/>
                  </a:lnTo>
                  <a:lnTo>
                    <a:pt x="146" y="35"/>
                  </a:lnTo>
                  <a:lnTo>
                    <a:pt x="131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2" y="9"/>
                  </a:lnTo>
                  <a:lnTo>
                    <a:pt x="87" y="1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6" y="22"/>
                  </a:lnTo>
                  <a:lnTo>
                    <a:pt x="46" y="3"/>
                  </a:lnTo>
                  <a:lnTo>
                    <a:pt x="37" y="0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03">
              <a:extLst>
                <a:ext uri="{FF2B5EF4-FFF2-40B4-BE49-F238E27FC236}">
                  <a16:creationId xmlns:a16="http://schemas.microsoft.com/office/drawing/2014/main" xmlns="" id="{B5D86937-C9AA-43A7-BCAA-874B8CEC2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2" y="2118"/>
              <a:ext cx="223" cy="175"/>
            </a:xfrm>
            <a:custGeom>
              <a:avLst/>
              <a:gdLst>
                <a:gd name="T0" fmla="*/ 35 w 223"/>
                <a:gd name="T1" fmla="*/ 13 h 175"/>
                <a:gd name="T2" fmla="*/ 14 w 223"/>
                <a:gd name="T3" fmla="*/ 37 h 175"/>
                <a:gd name="T4" fmla="*/ 3 w 223"/>
                <a:gd name="T5" fmla="*/ 52 h 175"/>
                <a:gd name="T6" fmla="*/ 0 w 223"/>
                <a:gd name="T7" fmla="*/ 63 h 175"/>
                <a:gd name="T8" fmla="*/ 7 w 223"/>
                <a:gd name="T9" fmla="*/ 78 h 175"/>
                <a:gd name="T10" fmla="*/ 22 w 223"/>
                <a:gd name="T11" fmla="*/ 91 h 175"/>
                <a:gd name="T12" fmla="*/ 24 w 223"/>
                <a:gd name="T13" fmla="*/ 91 h 175"/>
                <a:gd name="T14" fmla="*/ 24 w 223"/>
                <a:gd name="T15" fmla="*/ 91 h 175"/>
                <a:gd name="T16" fmla="*/ 29 w 223"/>
                <a:gd name="T17" fmla="*/ 106 h 175"/>
                <a:gd name="T18" fmla="*/ 29 w 223"/>
                <a:gd name="T19" fmla="*/ 106 h 175"/>
                <a:gd name="T20" fmla="*/ 29 w 223"/>
                <a:gd name="T21" fmla="*/ 108 h 175"/>
                <a:gd name="T22" fmla="*/ 29 w 223"/>
                <a:gd name="T23" fmla="*/ 121 h 175"/>
                <a:gd name="T24" fmla="*/ 53 w 223"/>
                <a:gd name="T25" fmla="*/ 123 h 175"/>
                <a:gd name="T26" fmla="*/ 53 w 223"/>
                <a:gd name="T27" fmla="*/ 123 h 175"/>
                <a:gd name="T28" fmla="*/ 53 w 223"/>
                <a:gd name="T29" fmla="*/ 123 h 175"/>
                <a:gd name="T30" fmla="*/ 68 w 223"/>
                <a:gd name="T31" fmla="*/ 149 h 175"/>
                <a:gd name="T32" fmla="*/ 81 w 223"/>
                <a:gd name="T33" fmla="*/ 158 h 175"/>
                <a:gd name="T34" fmla="*/ 90 w 223"/>
                <a:gd name="T35" fmla="*/ 156 h 175"/>
                <a:gd name="T36" fmla="*/ 103 w 223"/>
                <a:gd name="T37" fmla="*/ 147 h 175"/>
                <a:gd name="T38" fmla="*/ 105 w 223"/>
                <a:gd name="T39" fmla="*/ 145 h 175"/>
                <a:gd name="T40" fmla="*/ 107 w 223"/>
                <a:gd name="T41" fmla="*/ 147 h 175"/>
                <a:gd name="T42" fmla="*/ 129 w 223"/>
                <a:gd name="T43" fmla="*/ 171 h 175"/>
                <a:gd name="T44" fmla="*/ 142 w 223"/>
                <a:gd name="T45" fmla="*/ 175 h 175"/>
                <a:gd name="T46" fmla="*/ 155 w 223"/>
                <a:gd name="T47" fmla="*/ 175 h 175"/>
                <a:gd name="T48" fmla="*/ 199 w 223"/>
                <a:gd name="T49" fmla="*/ 136 h 175"/>
                <a:gd name="T50" fmla="*/ 199 w 223"/>
                <a:gd name="T51" fmla="*/ 136 h 175"/>
                <a:gd name="T52" fmla="*/ 199 w 223"/>
                <a:gd name="T53" fmla="*/ 136 h 175"/>
                <a:gd name="T54" fmla="*/ 223 w 223"/>
                <a:gd name="T55" fmla="*/ 121 h 175"/>
                <a:gd name="T56" fmla="*/ 218 w 223"/>
                <a:gd name="T57" fmla="*/ 106 h 175"/>
                <a:gd name="T58" fmla="*/ 218 w 223"/>
                <a:gd name="T59" fmla="*/ 106 h 175"/>
                <a:gd name="T60" fmla="*/ 207 w 223"/>
                <a:gd name="T61" fmla="*/ 82 h 175"/>
                <a:gd name="T62" fmla="*/ 164 w 223"/>
                <a:gd name="T63" fmla="*/ 6 h 175"/>
                <a:gd name="T64" fmla="*/ 136 w 223"/>
                <a:gd name="T65" fmla="*/ 6 h 175"/>
                <a:gd name="T66" fmla="*/ 127 w 223"/>
                <a:gd name="T67" fmla="*/ 15 h 175"/>
                <a:gd name="T68" fmla="*/ 127 w 223"/>
                <a:gd name="T69" fmla="*/ 15 h 175"/>
                <a:gd name="T70" fmla="*/ 125 w 223"/>
                <a:gd name="T71" fmla="*/ 15 h 175"/>
                <a:gd name="T72" fmla="*/ 114 w 223"/>
                <a:gd name="T73" fmla="*/ 6 h 175"/>
                <a:gd name="T74" fmla="*/ 114 w 223"/>
                <a:gd name="T75" fmla="*/ 6 h 175"/>
                <a:gd name="T76" fmla="*/ 103 w 223"/>
                <a:gd name="T77" fmla="*/ 0 h 175"/>
                <a:gd name="T78" fmla="*/ 99 w 223"/>
                <a:gd name="T79" fmla="*/ 4 h 175"/>
                <a:gd name="T80" fmla="*/ 96 w 223"/>
                <a:gd name="T81" fmla="*/ 4 h 175"/>
                <a:gd name="T82" fmla="*/ 96 w 223"/>
                <a:gd name="T83" fmla="*/ 4 h 175"/>
                <a:gd name="T84" fmla="*/ 79 w 223"/>
                <a:gd name="T85" fmla="*/ 8 h 175"/>
                <a:gd name="T86" fmla="*/ 77 w 223"/>
                <a:gd name="T87" fmla="*/ 11 h 175"/>
                <a:gd name="T88" fmla="*/ 77 w 223"/>
                <a:gd name="T89" fmla="*/ 8 h 175"/>
                <a:gd name="T90" fmla="*/ 66 w 223"/>
                <a:gd name="T91" fmla="*/ 4 h 175"/>
                <a:gd name="T92" fmla="*/ 59 w 223"/>
                <a:gd name="T93" fmla="*/ 11 h 175"/>
                <a:gd name="T94" fmla="*/ 57 w 223"/>
                <a:gd name="T95" fmla="*/ 13 h 175"/>
                <a:gd name="T96" fmla="*/ 57 w 223"/>
                <a:gd name="T97" fmla="*/ 13 h 175"/>
                <a:gd name="T98" fmla="*/ 35 w 223"/>
                <a:gd name="T99" fmla="*/ 13 h 175"/>
                <a:gd name="T100" fmla="*/ 35 w 223"/>
                <a:gd name="T101" fmla="*/ 13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3" h="175">
                  <a:moveTo>
                    <a:pt x="35" y="13"/>
                  </a:moveTo>
                  <a:lnTo>
                    <a:pt x="14" y="37"/>
                  </a:lnTo>
                  <a:lnTo>
                    <a:pt x="3" y="52"/>
                  </a:lnTo>
                  <a:lnTo>
                    <a:pt x="0" y="63"/>
                  </a:lnTo>
                  <a:lnTo>
                    <a:pt x="7" y="78"/>
                  </a:lnTo>
                  <a:lnTo>
                    <a:pt x="22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8"/>
                  </a:lnTo>
                  <a:lnTo>
                    <a:pt x="29" y="121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68" y="149"/>
                  </a:lnTo>
                  <a:lnTo>
                    <a:pt x="81" y="158"/>
                  </a:lnTo>
                  <a:lnTo>
                    <a:pt x="90" y="156"/>
                  </a:lnTo>
                  <a:lnTo>
                    <a:pt x="103" y="147"/>
                  </a:lnTo>
                  <a:lnTo>
                    <a:pt x="105" y="145"/>
                  </a:lnTo>
                  <a:lnTo>
                    <a:pt x="107" y="147"/>
                  </a:lnTo>
                  <a:lnTo>
                    <a:pt x="129" y="171"/>
                  </a:lnTo>
                  <a:lnTo>
                    <a:pt x="142" y="175"/>
                  </a:lnTo>
                  <a:lnTo>
                    <a:pt x="155" y="17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23" y="121"/>
                  </a:lnTo>
                  <a:lnTo>
                    <a:pt x="218" y="106"/>
                  </a:lnTo>
                  <a:lnTo>
                    <a:pt x="218" y="106"/>
                  </a:lnTo>
                  <a:lnTo>
                    <a:pt x="207" y="82"/>
                  </a:lnTo>
                  <a:lnTo>
                    <a:pt x="164" y="6"/>
                  </a:lnTo>
                  <a:lnTo>
                    <a:pt x="136" y="6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5" y="1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03" y="0"/>
                  </a:lnTo>
                  <a:lnTo>
                    <a:pt x="99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79" y="8"/>
                  </a:lnTo>
                  <a:lnTo>
                    <a:pt x="77" y="11"/>
                  </a:lnTo>
                  <a:lnTo>
                    <a:pt x="77" y="8"/>
                  </a:lnTo>
                  <a:lnTo>
                    <a:pt x="66" y="4"/>
                  </a:lnTo>
                  <a:lnTo>
                    <a:pt x="59" y="11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35" y="13"/>
                  </a:lnTo>
                  <a:lnTo>
                    <a:pt x="35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04">
              <a:extLst>
                <a:ext uri="{FF2B5EF4-FFF2-40B4-BE49-F238E27FC236}">
                  <a16:creationId xmlns:a16="http://schemas.microsoft.com/office/drawing/2014/main" xmlns="" id="{D68F6547-44BF-430B-B4E9-05EB9AD32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" y="1910"/>
              <a:ext cx="231" cy="143"/>
            </a:xfrm>
            <a:custGeom>
              <a:avLst/>
              <a:gdLst>
                <a:gd name="T0" fmla="*/ 214 w 231"/>
                <a:gd name="T1" fmla="*/ 130 h 143"/>
                <a:gd name="T2" fmla="*/ 221 w 231"/>
                <a:gd name="T3" fmla="*/ 121 h 143"/>
                <a:gd name="T4" fmla="*/ 231 w 231"/>
                <a:gd name="T5" fmla="*/ 108 h 143"/>
                <a:gd name="T6" fmla="*/ 231 w 231"/>
                <a:gd name="T7" fmla="*/ 73 h 143"/>
                <a:gd name="T8" fmla="*/ 214 w 231"/>
                <a:gd name="T9" fmla="*/ 63 h 143"/>
                <a:gd name="T10" fmla="*/ 214 w 231"/>
                <a:gd name="T11" fmla="*/ 63 h 143"/>
                <a:gd name="T12" fmla="*/ 214 w 231"/>
                <a:gd name="T13" fmla="*/ 63 h 143"/>
                <a:gd name="T14" fmla="*/ 201 w 231"/>
                <a:gd name="T15" fmla="*/ 43 h 143"/>
                <a:gd name="T16" fmla="*/ 201 w 231"/>
                <a:gd name="T17" fmla="*/ 43 h 143"/>
                <a:gd name="T18" fmla="*/ 201 w 231"/>
                <a:gd name="T19" fmla="*/ 43 h 143"/>
                <a:gd name="T20" fmla="*/ 199 w 231"/>
                <a:gd name="T21" fmla="*/ 21 h 143"/>
                <a:gd name="T22" fmla="*/ 175 w 231"/>
                <a:gd name="T23" fmla="*/ 37 h 143"/>
                <a:gd name="T24" fmla="*/ 175 w 231"/>
                <a:gd name="T25" fmla="*/ 37 h 143"/>
                <a:gd name="T26" fmla="*/ 175 w 231"/>
                <a:gd name="T27" fmla="*/ 37 h 143"/>
                <a:gd name="T28" fmla="*/ 133 w 231"/>
                <a:gd name="T29" fmla="*/ 41 h 143"/>
                <a:gd name="T30" fmla="*/ 131 w 231"/>
                <a:gd name="T31" fmla="*/ 41 h 143"/>
                <a:gd name="T32" fmla="*/ 131 w 231"/>
                <a:gd name="T33" fmla="*/ 41 h 143"/>
                <a:gd name="T34" fmla="*/ 123 w 231"/>
                <a:gd name="T35" fmla="*/ 30 h 143"/>
                <a:gd name="T36" fmla="*/ 109 w 231"/>
                <a:gd name="T37" fmla="*/ 28 h 143"/>
                <a:gd name="T38" fmla="*/ 99 w 231"/>
                <a:gd name="T39" fmla="*/ 32 h 143"/>
                <a:gd name="T40" fmla="*/ 96 w 231"/>
                <a:gd name="T41" fmla="*/ 34 h 143"/>
                <a:gd name="T42" fmla="*/ 96 w 231"/>
                <a:gd name="T43" fmla="*/ 32 h 143"/>
                <a:gd name="T44" fmla="*/ 88 w 231"/>
                <a:gd name="T45" fmla="*/ 0 h 143"/>
                <a:gd name="T46" fmla="*/ 68 w 231"/>
                <a:gd name="T47" fmla="*/ 0 h 143"/>
                <a:gd name="T48" fmla="*/ 53 w 231"/>
                <a:gd name="T49" fmla="*/ 13 h 143"/>
                <a:gd name="T50" fmla="*/ 53 w 231"/>
                <a:gd name="T51" fmla="*/ 15 h 143"/>
                <a:gd name="T52" fmla="*/ 53 w 231"/>
                <a:gd name="T53" fmla="*/ 15 h 143"/>
                <a:gd name="T54" fmla="*/ 22 w 231"/>
                <a:gd name="T55" fmla="*/ 13 h 143"/>
                <a:gd name="T56" fmla="*/ 9 w 231"/>
                <a:gd name="T57" fmla="*/ 19 h 143"/>
                <a:gd name="T58" fmla="*/ 0 w 231"/>
                <a:gd name="T59" fmla="*/ 34 h 143"/>
                <a:gd name="T60" fmla="*/ 0 w 231"/>
                <a:gd name="T61" fmla="*/ 45 h 143"/>
                <a:gd name="T62" fmla="*/ 9 w 231"/>
                <a:gd name="T63" fmla="*/ 60 h 143"/>
                <a:gd name="T64" fmla="*/ 20 w 231"/>
                <a:gd name="T65" fmla="*/ 67 h 143"/>
                <a:gd name="T66" fmla="*/ 27 w 231"/>
                <a:gd name="T67" fmla="*/ 60 h 143"/>
                <a:gd name="T68" fmla="*/ 27 w 231"/>
                <a:gd name="T69" fmla="*/ 60 h 143"/>
                <a:gd name="T70" fmla="*/ 29 w 231"/>
                <a:gd name="T71" fmla="*/ 60 h 143"/>
                <a:gd name="T72" fmla="*/ 44 w 231"/>
                <a:gd name="T73" fmla="*/ 60 h 143"/>
                <a:gd name="T74" fmla="*/ 46 w 231"/>
                <a:gd name="T75" fmla="*/ 60 h 143"/>
                <a:gd name="T76" fmla="*/ 46 w 231"/>
                <a:gd name="T77" fmla="*/ 63 h 143"/>
                <a:gd name="T78" fmla="*/ 48 w 231"/>
                <a:gd name="T79" fmla="*/ 76 h 143"/>
                <a:gd name="T80" fmla="*/ 48 w 231"/>
                <a:gd name="T81" fmla="*/ 78 h 143"/>
                <a:gd name="T82" fmla="*/ 48 w 231"/>
                <a:gd name="T83" fmla="*/ 78 h 143"/>
                <a:gd name="T84" fmla="*/ 35 w 231"/>
                <a:gd name="T85" fmla="*/ 84 h 143"/>
                <a:gd name="T86" fmla="*/ 27 w 231"/>
                <a:gd name="T87" fmla="*/ 93 h 143"/>
                <a:gd name="T88" fmla="*/ 27 w 231"/>
                <a:gd name="T89" fmla="*/ 102 h 143"/>
                <a:gd name="T90" fmla="*/ 33 w 231"/>
                <a:gd name="T91" fmla="*/ 112 h 143"/>
                <a:gd name="T92" fmla="*/ 92 w 231"/>
                <a:gd name="T93" fmla="*/ 143 h 143"/>
                <a:gd name="T94" fmla="*/ 129 w 231"/>
                <a:gd name="T95" fmla="*/ 121 h 143"/>
                <a:gd name="T96" fmla="*/ 129 w 231"/>
                <a:gd name="T97" fmla="*/ 121 h 143"/>
                <a:gd name="T98" fmla="*/ 129 w 231"/>
                <a:gd name="T99" fmla="*/ 121 h 143"/>
                <a:gd name="T100" fmla="*/ 140 w 231"/>
                <a:gd name="T101" fmla="*/ 123 h 143"/>
                <a:gd name="T102" fmla="*/ 140 w 231"/>
                <a:gd name="T103" fmla="*/ 125 h 143"/>
                <a:gd name="T104" fmla="*/ 140 w 231"/>
                <a:gd name="T105" fmla="*/ 125 h 143"/>
                <a:gd name="T106" fmla="*/ 168 w 231"/>
                <a:gd name="T107" fmla="*/ 143 h 143"/>
                <a:gd name="T108" fmla="*/ 177 w 231"/>
                <a:gd name="T109" fmla="*/ 132 h 143"/>
                <a:gd name="T110" fmla="*/ 177 w 231"/>
                <a:gd name="T111" fmla="*/ 132 h 143"/>
                <a:gd name="T112" fmla="*/ 179 w 231"/>
                <a:gd name="T113" fmla="*/ 132 h 143"/>
                <a:gd name="T114" fmla="*/ 214 w 231"/>
                <a:gd name="T115" fmla="*/ 130 h 143"/>
                <a:gd name="T116" fmla="*/ 214 w 231"/>
                <a:gd name="T117" fmla="*/ 13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1" h="143">
                  <a:moveTo>
                    <a:pt x="214" y="130"/>
                  </a:moveTo>
                  <a:lnTo>
                    <a:pt x="221" y="121"/>
                  </a:lnTo>
                  <a:lnTo>
                    <a:pt x="231" y="108"/>
                  </a:lnTo>
                  <a:lnTo>
                    <a:pt x="231" y="7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14" y="6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201" y="43"/>
                  </a:lnTo>
                  <a:lnTo>
                    <a:pt x="199" y="21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75" y="37"/>
                  </a:lnTo>
                  <a:lnTo>
                    <a:pt x="133" y="41"/>
                  </a:lnTo>
                  <a:lnTo>
                    <a:pt x="131" y="41"/>
                  </a:lnTo>
                  <a:lnTo>
                    <a:pt x="131" y="41"/>
                  </a:lnTo>
                  <a:lnTo>
                    <a:pt x="123" y="30"/>
                  </a:lnTo>
                  <a:lnTo>
                    <a:pt x="109" y="28"/>
                  </a:lnTo>
                  <a:lnTo>
                    <a:pt x="99" y="32"/>
                  </a:lnTo>
                  <a:lnTo>
                    <a:pt x="96" y="34"/>
                  </a:lnTo>
                  <a:lnTo>
                    <a:pt x="96" y="32"/>
                  </a:lnTo>
                  <a:lnTo>
                    <a:pt x="88" y="0"/>
                  </a:lnTo>
                  <a:lnTo>
                    <a:pt x="68" y="0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22" y="13"/>
                  </a:lnTo>
                  <a:lnTo>
                    <a:pt x="9" y="19"/>
                  </a:lnTo>
                  <a:lnTo>
                    <a:pt x="0" y="34"/>
                  </a:lnTo>
                  <a:lnTo>
                    <a:pt x="0" y="45"/>
                  </a:lnTo>
                  <a:lnTo>
                    <a:pt x="9" y="60"/>
                  </a:lnTo>
                  <a:lnTo>
                    <a:pt x="20" y="67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9" y="60"/>
                  </a:lnTo>
                  <a:lnTo>
                    <a:pt x="44" y="60"/>
                  </a:lnTo>
                  <a:lnTo>
                    <a:pt x="46" y="60"/>
                  </a:lnTo>
                  <a:lnTo>
                    <a:pt x="46" y="63"/>
                  </a:lnTo>
                  <a:lnTo>
                    <a:pt x="48" y="76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35" y="84"/>
                  </a:lnTo>
                  <a:lnTo>
                    <a:pt x="27" y="93"/>
                  </a:lnTo>
                  <a:lnTo>
                    <a:pt x="27" y="102"/>
                  </a:lnTo>
                  <a:lnTo>
                    <a:pt x="33" y="112"/>
                  </a:lnTo>
                  <a:lnTo>
                    <a:pt x="92" y="143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29" y="121"/>
                  </a:lnTo>
                  <a:lnTo>
                    <a:pt x="140" y="123"/>
                  </a:lnTo>
                  <a:lnTo>
                    <a:pt x="140" y="125"/>
                  </a:lnTo>
                  <a:lnTo>
                    <a:pt x="140" y="125"/>
                  </a:lnTo>
                  <a:lnTo>
                    <a:pt x="168" y="143"/>
                  </a:lnTo>
                  <a:lnTo>
                    <a:pt x="177" y="132"/>
                  </a:lnTo>
                  <a:lnTo>
                    <a:pt x="177" y="132"/>
                  </a:lnTo>
                  <a:lnTo>
                    <a:pt x="179" y="132"/>
                  </a:lnTo>
                  <a:lnTo>
                    <a:pt x="214" y="130"/>
                  </a:lnTo>
                  <a:lnTo>
                    <a:pt x="214" y="1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05">
              <a:extLst>
                <a:ext uri="{FF2B5EF4-FFF2-40B4-BE49-F238E27FC236}">
                  <a16:creationId xmlns:a16="http://schemas.microsoft.com/office/drawing/2014/main" xmlns="" id="{A2B768C2-4970-4431-990E-3BBA06059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9" y="1875"/>
              <a:ext cx="194" cy="254"/>
            </a:xfrm>
            <a:custGeom>
              <a:avLst/>
              <a:gdLst>
                <a:gd name="T0" fmla="*/ 4 w 194"/>
                <a:gd name="T1" fmla="*/ 76 h 254"/>
                <a:gd name="T2" fmla="*/ 33 w 194"/>
                <a:gd name="T3" fmla="*/ 104 h 254"/>
                <a:gd name="T4" fmla="*/ 35 w 194"/>
                <a:gd name="T5" fmla="*/ 106 h 254"/>
                <a:gd name="T6" fmla="*/ 35 w 194"/>
                <a:gd name="T7" fmla="*/ 143 h 254"/>
                <a:gd name="T8" fmla="*/ 24 w 194"/>
                <a:gd name="T9" fmla="*/ 160 h 254"/>
                <a:gd name="T10" fmla="*/ 17 w 194"/>
                <a:gd name="T11" fmla="*/ 167 h 254"/>
                <a:gd name="T12" fmla="*/ 41 w 194"/>
                <a:gd name="T13" fmla="*/ 193 h 254"/>
                <a:gd name="T14" fmla="*/ 41 w 194"/>
                <a:gd name="T15" fmla="*/ 193 h 254"/>
                <a:gd name="T16" fmla="*/ 44 w 194"/>
                <a:gd name="T17" fmla="*/ 225 h 254"/>
                <a:gd name="T18" fmla="*/ 30 w 194"/>
                <a:gd name="T19" fmla="*/ 238 h 254"/>
                <a:gd name="T20" fmla="*/ 50 w 194"/>
                <a:gd name="T21" fmla="*/ 251 h 254"/>
                <a:gd name="T22" fmla="*/ 59 w 194"/>
                <a:gd name="T23" fmla="*/ 243 h 254"/>
                <a:gd name="T24" fmla="*/ 70 w 194"/>
                <a:gd name="T25" fmla="*/ 247 h 254"/>
                <a:gd name="T26" fmla="*/ 94 w 194"/>
                <a:gd name="T27" fmla="*/ 238 h 254"/>
                <a:gd name="T28" fmla="*/ 98 w 194"/>
                <a:gd name="T29" fmla="*/ 238 h 254"/>
                <a:gd name="T30" fmla="*/ 109 w 194"/>
                <a:gd name="T31" fmla="*/ 247 h 254"/>
                <a:gd name="T32" fmla="*/ 126 w 194"/>
                <a:gd name="T33" fmla="*/ 245 h 254"/>
                <a:gd name="T34" fmla="*/ 129 w 194"/>
                <a:gd name="T35" fmla="*/ 245 h 254"/>
                <a:gd name="T36" fmla="*/ 168 w 194"/>
                <a:gd name="T37" fmla="*/ 230 h 254"/>
                <a:gd name="T38" fmla="*/ 168 w 194"/>
                <a:gd name="T39" fmla="*/ 204 h 254"/>
                <a:gd name="T40" fmla="*/ 168 w 194"/>
                <a:gd name="T41" fmla="*/ 204 h 254"/>
                <a:gd name="T42" fmla="*/ 155 w 194"/>
                <a:gd name="T43" fmla="*/ 186 h 254"/>
                <a:gd name="T44" fmla="*/ 144 w 194"/>
                <a:gd name="T45" fmla="*/ 156 h 254"/>
                <a:gd name="T46" fmla="*/ 144 w 194"/>
                <a:gd name="T47" fmla="*/ 154 h 254"/>
                <a:gd name="T48" fmla="*/ 153 w 194"/>
                <a:gd name="T49" fmla="*/ 132 h 254"/>
                <a:gd name="T50" fmla="*/ 177 w 194"/>
                <a:gd name="T51" fmla="*/ 104 h 254"/>
                <a:gd name="T52" fmla="*/ 177 w 194"/>
                <a:gd name="T53" fmla="*/ 104 h 254"/>
                <a:gd name="T54" fmla="*/ 194 w 194"/>
                <a:gd name="T55" fmla="*/ 76 h 254"/>
                <a:gd name="T56" fmla="*/ 131 w 194"/>
                <a:gd name="T57" fmla="*/ 54 h 254"/>
                <a:gd name="T58" fmla="*/ 131 w 194"/>
                <a:gd name="T59" fmla="*/ 54 h 254"/>
                <a:gd name="T60" fmla="*/ 81 w 194"/>
                <a:gd name="T61" fmla="*/ 22 h 254"/>
                <a:gd name="T62" fmla="*/ 83 w 194"/>
                <a:gd name="T63" fmla="*/ 2 h 254"/>
                <a:gd name="T64" fmla="*/ 72 w 194"/>
                <a:gd name="T65" fmla="*/ 4 h 254"/>
                <a:gd name="T66" fmla="*/ 70 w 194"/>
                <a:gd name="T67" fmla="*/ 7 h 254"/>
                <a:gd name="T68" fmla="*/ 28 w 194"/>
                <a:gd name="T69" fmla="*/ 15 h 254"/>
                <a:gd name="T70" fmla="*/ 28 w 194"/>
                <a:gd name="T71" fmla="*/ 15 h 254"/>
                <a:gd name="T72" fmla="*/ 0 w 194"/>
                <a:gd name="T73" fmla="*/ 54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4" h="254">
                  <a:moveTo>
                    <a:pt x="0" y="54"/>
                  </a:moveTo>
                  <a:lnTo>
                    <a:pt x="4" y="76"/>
                  </a:lnTo>
                  <a:lnTo>
                    <a:pt x="15" y="95"/>
                  </a:lnTo>
                  <a:lnTo>
                    <a:pt x="33" y="104"/>
                  </a:lnTo>
                  <a:lnTo>
                    <a:pt x="35" y="104"/>
                  </a:lnTo>
                  <a:lnTo>
                    <a:pt x="35" y="106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17" y="167"/>
                  </a:lnTo>
                  <a:lnTo>
                    <a:pt x="24" y="182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1" y="193"/>
                  </a:lnTo>
                  <a:lnTo>
                    <a:pt x="44" y="223"/>
                  </a:lnTo>
                  <a:lnTo>
                    <a:pt x="44" y="225"/>
                  </a:lnTo>
                  <a:lnTo>
                    <a:pt x="44" y="225"/>
                  </a:lnTo>
                  <a:lnTo>
                    <a:pt x="30" y="238"/>
                  </a:lnTo>
                  <a:lnTo>
                    <a:pt x="30" y="251"/>
                  </a:lnTo>
                  <a:lnTo>
                    <a:pt x="50" y="251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59" y="243"/>
                  </a:lnTo>
                  <a:lnTo>
                    <a:pt x="70" y="247"/>
                  </a:lnTo>
                  <a:lnTo>
                    <a:pt x="89" y="243"/>
                  </a:lnTo>
                  <a:lnTo>
                    <a:pt x="94" y="238"/>
                  </a:lnTo>
                  <a:lnTo>
                    <a:pt x="96" y="238"/>
                  </a:lnTo>
                  <a:lnTo>
                    <a:pt x="98" y="238"/>
                  </a:lnTo>
                  <a:lnTo>
                    <a:pt x="109" y="247"/>
                  </a:lnTo>
                  <a:lnTo>
                    <a:pt x="109" y="247"/>
                  </a:lnTo>
                  <a:lnTo>
                    <a:pt x="118" y="254"/>
                  </a:lnTo>
                  <a:lnTo>
                    <a:pt x="126" y="245"/>
                  </a:lnTo>
                  <a:lnTo>
                    <a:pt x="129" y="245"/>
                  </a:lnTo>
                  <a:lnTo>
                    <a:pt x="129" y="245"/>
                  </a:lnTo>
                  <a:lnTo>
                    <a:pt x="157" y="245"/>
                  </a:lnTo>
                  <a:lnTo>
                    <a:pt x="168" y="230"/>
                  </a:lnTo>
                  <a:lnTo>
                    <a:pt x="174" y="21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55" y="18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4" y="15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90" y="91"/>
                  </a:lnTo>
                  <a:lnTo>
                    <a:pt x="194" y="76"/>
                  </a:lnTo>
                  <a:lnTo>
                    <a:pt x="174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131" y="5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3" y="2"/>
                  </a:lnTo>
                  <a:lnTo>
                    <a:pt x="76" y="0"/>
                  </a:lnTo>
                  <a:lnTo>
                    <a:pt x="72" y="4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28" y="11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06">
              <a:extLst>
                <a:ext uri="{FF2B5EF4-FFF2-40B4-BE49-F238E27FC236}">
                  <a16:creationId xmlns:a16="http://schemas.microsoft.com/office/drawing/2014/main" xmlns="" id="{C98C401F-A679-4E60-821C-7D7595C4D0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973"/>
              <a:ext cx="168" cy="223"/>
            </a:xfrm>
            <a:custGeom>
              <a:avLst/>
              <a:gdLst>
                <a:gd name="T0" fmla="*/ 42 w 168"/>
                <a:gd name="T1" fmla="*/ 0 h 223"/>
                <a:gd name="T2" fmla="*/ 31 w 168"/>
                <a:gd name="T3" fmla="*/ 10 h 223"/>
                <a:gd name="T4" fmla="*/ 7 w 168"/>
                <a:gd name="T5" fmla="*/ 36 h 223"/>
                <a:gd name="T6" fmla="*/ 0 w 168"/>
                <a:gd name="T7" fmla="*/ 56 h 223"/>
                <a:gd name="T8" fmla="*/ 11 w 168"/>
                <a:gd name="T9" fmla="*/ 86 h 223"/>
                <a:gd name="T10" fmla="*/ 22 w 168"/>
                <a:gd name="T11" fmla="*/ 101 h 223"/>
                <a:gd name="T12" fmla="*/ 31 w 168"/>
                <a:gd name="T13" fmla="*/ 110 h 223"/>
                <a:gd name="T14" fmla="*/ 31 w 168"/>
                <a:gd name="T15" fmla="*/ 110 h 223"/>
                <a:gd name="T16" fmla="*/ 31 w 168"/>
                <a:gd name="T17" fmla="*/ 112 h 223"/>
                <a:gd name="T18" fmla="*/ 24 w 168"/>
                <a:gd name="T19" fmla="*/ 134 h 223"/>
                <a:gd name="T20" fmla="*/ 24 w 168"/>
                <a:gd name="T21" fmla="*/ 134 h 223"/>
                <a:gd name="T22" fmla="*/ 24 w 168"/>
                <a:gd name="T23" fmla="*/ 134 h 223"/>
                <a:gd name="T24" fmla="*/ 13 w 168"/>
                <a:gd name="T25" fmla="*/ 149 h 223"/>
                <a:gd name="T26" fmla="*/ 57 w 168"/>
                <a:gd name="T27" fmla="*/ 223 h 223"/>
                <a:gd name="T28" fmla="*/ 87 w 168"/>
                <a:gd name="T29" fmla="*/ 205 h 223"/>
                <a:gd name="T30" fmla="*/ 87 w 168"/>
                <a:gd name="T31" fmla="*/ 205 h 223"/>
                <a:gd name="T32" fmla="*/ 87 w 168"/>
                <a:gd name="T33" fmla="*/ 205 h 223"/>
                <a:gd name="T34" fmla="*/ 127 w 168"/>
                <a:gd name="T35" fmla="*/ 203 h 223"/>
                <a:gd name="T36" fmla="*/ 168 w 168"/>
                <a:gd name="T37" fmla="*/ 177 h 223"/>
                <a:gd name="T38" fmla="*/ 159 w 168"/>
                <a:gd name="T39" fmla="*/ 153 h 223"/>
                <a:gd name="T40" fmla="*/ 118 w 168"/>
                <a:gd name="T41" fmla="*/ 101 h 223"/>
                <a:gd name="T42" fmla="*/ 98 w 168"/>
                <a:gd name="T43" fmla="*/ 91 h 223"/>
                <a:gd name="T44" fmla="*/ 96 w 168"/>
                <a:gd name="T45" fmla="*/ 91 h 223"/>
                <a:gd name="T46" fmla="*/ 96 w 168"/>
                <a:gd name="T47" fmla="*/ 91 h 223"/>
                <a:gd name="T48" fmla="*/ 81 w 168"/>
                <a:gd name="T49" fmla="*/ 73 h 223"/>
                <a:gd name="T50" fmla="*/ 81 w 168"/>
                <a:gd name="T51" fmla="*/ 73 h 223"/>
                <a:gd name="T52" fmla="*/ 81 w 168"/>
                <a:gd name="T53" fmla="*/ 71 h 223"/>
                <a:gd name="T54" fmla="*/ 92 w 168"/>
                <a:gd name="T55" fmla="*/ 56 h 223"/>
                <a:gd name="T56" fmla="*/ 98 w 168"/>
                <a:gd name="T57" fmla="*/ 36 h 223"/>
                <a:gd name="T58" fmla="*/ 87 w 168"/>
                <a:gd name="T59" fmla="*/ 28 h 223"/>
                <a:gd name="T60" fmla="*/ 68 w 168"/>
                <a:gd name="T61" fmla="*/ 45 h 223"/>
                <a:gd name="T62" fmla="*/ 66 w 168"/>
                <a:gd name="T63" fmla="*/ 45 h 223"/>
                <a:gd name="T64" fmla="*/ 63 w 168"/>
                <a:gd name="T65" fmla="*/ 43 h 223"/>
                <a:gd name="T66" fmla="*/ 44 w 168"/>
                <a:gd name="T67" fmla="*/ 23 h 223"/>
                <a:gd name="T68" fmla="*/ 44 w 168"/>
                <a:gd name="T69" fmla="*/ 23 h 223"/>
                <a:gd name="T70" fmla="*/ 44 w 168"/>
                <a:gd name="T71" fmla="*/ 21 h 223"/>
                <a:gd name="T72" fmla="*/ 42 w 168"/>
                <a:gd name="T73" fmla="*/ 0 h 223"/>
                <a:gd name="T74" fmla="*/ 42 w 168"/>
                <a:gd name="T75" fmla="*/ 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8" h="223">
                  <a:moveTo>
                    <a:pt x="42" y="0"/>
                  </a:moveTo>
                  <a:lnTo>
                    <a:pt x="31" y="10"/>
                  </a:lnTo>
                  <a:lnTo>
                    <a:pt x="7" y="36"/>
                  </a:lnTo>
                  <a:lnTo>
                    <a:pt x="0" y="56"/>
                  </a:lnTo>
                  <a:lnTo>
                    <a:pt x="11" y="86"/>
                  </a:lnTo>
                  <a:lnTo>
                    <a:pt x="22" y="101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2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24" y="134"/>
                  </a:lnTo>
                  <a:lnTo>
                    <a:pt x="13" y="149"/>
                  </a:lnTo>
                  <a:lnTo>
                    <a:pt x="57" y="223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87" y="205"/>
                  </a:lnTo>
                  <a:lnTo>
                    <a:pt x="127" y="203"/>
                  </a:lnTo>
                  <a:lnTo>
                    <a:pt x="168" y="177"/>
                  </a:lnTo>
                  <a:lnTo>
                    <a:pt x="159" y="153"/>
                  </a:lnTo>
                  <a:lnTo>
                    <a:pt x="118" y="101"/>
                  </a:lnTo>
                  <a:lnTo>
                    <a:pt x="98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1"/>
                  </a:lnTo>
                  <a:lnTo>
                    <a:pt x="92" y="56"/>
                  </a:lnTo>
                  <a:lnTo>
                    <a:pt x="98" y="36"/>
                  </a:lnTo>
                  <a:lnTo>
                    <a:pt x="87" y="28"/>
                  </a:lnTo>
                  <a:lnTo>
                    <a:pt x="68" y="45"/>
                  </a:lnTo>
                  <a:lnTo>
                    <a:pt x="66" y="45"/>
                  </a:lnTo>
                  <a:lnTo>
                    <a:pt x="63" y="4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07">
              <a:extLst>
                <a:ext uri="{FF2B5EF4-FFF2-40B4-BE49-F238E27FC236}">
                  <a16:creationId xmlns:a16="http://schemas.microsoft.com/office/drawing/2014/main" xmlns="" id="{D41EC805-C7F5-415E-B841-A5BFD3757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2001"/>
              <a:ext cx="170" cy="149"/>
            </a:xfrm>
            <a:custGeom>
              <a:avLst/>
              <a:gdLst>
                <a:gd name="T0" fmla="*/ 13 w 170"/>
                <a:gd name="T1" fmla="*/ 4 h 149"/>
                <a:gd name="T2" fmla="*/ 15 w 170"/>
                <a:gd name="T3" fmla="*/ 6 h 149"/>
                <a:gd name="T4" fmla="*/ 18 w 170"/>
                <a:gd name="T5" fmla="*/ 8 h 149"/>
                <a:gd name="T6" fmla="*/ 18 w 170"/>
                <a:gd name="T7" fmla="*/ 8 h 149"/>
                <a:gd name="T8" fmla="*/ 11 w 170"/>
                <a:gd name="T9" fmla="*/ 30 h 149"/>
                <a:gd name="T10" fmla="*/ 11 w 170"/>
                <a:gd name="T11" fmla="*/ 30 h 149"/>
                <a:gd name="T12" fmla="*/ 11 w 170"/>
                <a:gd name="T13" fmla="*/ 30 h 149"/>
                <a:gd name="T14" fmla="*/ 0 w 170"/>
                <a:gd name="T15" fmla="*/ 45 h 149"/>
                <a:gd name="T16" fmla="*/ 15 w 170"/>
                <a:gd name="T17" fmla="*/ 60 h 149"/>
                <a:gd name="T18" fmla="*/ 35 w 170"/>
                <a:gd name="T19" fmla="*/ 69 h 149"/>
                <a:gd name="T20" fmla="*/ 35 w 170"/>
                <a:gd name="T21" fmla="*/ 69 h 149"/>
                <a:gd name="T22" fmla="*/ 35 w 170"/>
                <a:gd name="T23" fmla="*/ 69 h 149"/>
                <a:gd name="T24" fmla="*/ 79 w 170"/>
                <a:gd name="T25" fmla="*/ 123 h 149"/>
                <a:gd name="T26" fmla="*/ 79 w 170"/>
                <a:gd name="T27" fmla="*/ 123 h 149"/>
                <a:gd name="T28" fmla="*/ 79 w 170"/>
                <a:gd name="T29" fmla="*/ 123 h 149"/>
                <a:gd name="T30" fmla="*/ 87 w 170"/>
                <a:gd name="T31" fmla="*/ 149 h 149"/>
                <a:gd name="T32" fmla="*/ 100 w 170"/>
                <a:gd name="T33" fmla="*/ 145 h 149"/>
                <a:gd name="T34" fmla="*/ 111 w 170"/>
                <a:gd name="T35" fmla="*/ 132 h 149"/>
                <a:gd name="T36" fmla="*/ 111 w 170"/>
                <a:gd name="T37" fmla="*/ 130 h 149"/>
                <a:gd name="T38" fmla="*/ 113 w 170"/>
                <a:gd name="T39" fmla="*/ 130 h 149"/>
                <a:gd name="T40" fmla="*/ 137 w 170"/>
                <a:gd name="T41" fmla="*/ 128 h 149"/>
                <a:gd name="T42" fmla="*/ 140 w 170"/>
                <a:gd name="T43" fmla="*/ 128 h 149"/>
                <a:gd name="T44" fmla="*/ 140 w 170"/>
                <a:gd name="T45" fmla="*/ 130 h 149"/>
                <a:gd name="T46" fmla="*/ 151 w 170"/>
                <a:gd name="T47" fmla="*/ 138 h 149"/>
                <a:gd name="T48" fmla="*/ 166 w 170"/>
                <a:gd name="T49" fmla="*/ 130 h 149"/>
                <a:gd name="T50" fmla="*/ 170 w 170"/>
                <a:gd name="T51" fmla="*/ 73 h 149"/>
                <a:gd name="T52" fmla="*/ 144 w 170"/>
                <a:gd name="T53" fmla="*/ 60 h 149"/>
                <a:gd name="T54" fmla="*/ 144 w 170"/>
                <a:gd name="T55" fmla="*/ 60 h 149"/>
                <a:gd name="T56" fmla="*/ 144 w 170"/>
                <a:gd name="T57" fmla="*/ 58 h 149"/>
                <a:gd name="T58" fmla="*/ 142 w 170"/>
                <a:gd name="T59" fmla="*/ 37 h 149"/>
                <a:gd name="T60" fmla="*/ 131 w 170"/>
                <a:gd name="T61" fmla="*/ 26 h 149"/>
                <a:gd name="T62" fmla="*/ 113 w 170"/>
                <a:gd name="T63" fmla="*/ 32 h 149"/>
                <a:gd name="T64" fmla="*/ 111 w 170"/>
                <a:gd name="T65" fmla="*/ 32 h 149"/>
                <a:gd name="T66" fmla="*/ 111 w 170"/>
                <a:gd name="T67" fmla="*/ 32 h 149"/>
                <a:gd name="T68" fmla="*/ 50 w 170"/>
                <a:gd name="T69" fmla="*/ 0 h 149"/>
                <a:gd name="T70" fmla="*/ 13 w 170"/>
                <a:gd name="T71" fmla="*/ 4 h 149"/>
                <a:gd name="T72" fmla="*/ 13 w 170"/>
                <a:gd name="T73" fmla="*/ 4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0" h="149">
                  <a:moveTo>
                    <a:pt x="13" y="4"/>
                  </a:moveTo>
                  <a:lnTo>
                    <a:pt x="15" y="6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0" y="45"/>
                  </a:lnTo>
                  <a:lnTo>
                    <a:pt x="15" y="60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87" y="149"/>
                  </a:lnTo>
                  <a:lnTo>
                    <a:pt x="100" y="145"/>
                  </a:lnTo>
                  <a:lnTo>
                    <a:pt x="111" y="132"/>
                  </a:lnTo>
                  <a:lnTo>
                    <a:pt x="111" y="130"/>
                  </a:lnTo>
                  <a:lnTo>
                    <a:pt x="113" y="130"/>
                  </a:lnTo>
                  <a:lnTo>
                    <a:pt x="137" y="128"/>
                  </a:lnTo>
                  <a:lnTo>
                    <a:pt x="140" y="128"/>
                  </a:lnTo>
                  <a:lnTo>
                    <a:pt x="140" y="130"/>
                  </a:lnTo>
                  <a:lnTo>
                    <a:pt x="151" y="138"/>
                  </a:lnTo>
                  <a:lnTo>
                    <a:pt x="166" y="130"/>
                  </a:lnTo>
                  <a:lnTo>
                    <a:pt x="170" y="73"/>
                  </a:lnTo>
                  <a:lnTo>
                    <a:pt x="144" y="60"/>
                  </a:lnTo>
                  <a:lnTo>
                    <a:pt x="144" y="60"/>
                  </a:lnTo>
                  <a:lnTo>
                    <a:pt x="144" y="58"/>
                  </a:lnTo>
                  <a:lnTo>
                    <a:pt x="142" y="37"/>
                  </a:lnTo>
                  <a:lnTo>
                    <a:pt x="131" y="26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50" y="0"/>
                  </a:lnTo>
                  <a:lnTo>
                    <a:pt x="13" y="4"/>
                  </a:lnTo>
                  <a:lnTo>
                    <a:pt x="13" y="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08">
              <a:extLst>
                <a:ext uri="{FF2B5EF4-FFF2-40B4-BE49-F238E27FC236}">
                  <a16:creationId xmlns:a16="http://schemas.microsoft.com/office/drawing/2014/main" xmlns="" id="{7AB37A9D-C3A9-4BA1-B70E-5AF8498EA1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8" y="1955"/>
              <a:ext cx="362" cy="217"/>
            </a:xfrm>
            <a:custGeom>
              <a:avLst/>
              <a:gdLst>
                <a:gd name="T0" fmla="*/ 0 w 362"/>
                <a:gd name="T1" fmla="*/ 54 h 217"/>
                <a:gd name="T2" fmla="*/ 35 w 362"/>
                <a:gd name="T3" fmla="*/ 74 h 217"/>
                <a:gd name="T4" fmla="*/ 55 w 362"/>
                <a:gd name="T5" fmla="*/ 67 h 217"/>
                <a:gd name="T6" fmla="*/ 57 w 362"/>
                <a:gd name="T7" fmla="*/ 67 h 217"/>
                <a:gd name="T8" fmla="*/ 57 w 362"/>
                <a:gd name="T9" fmla="*/ 67 h 217"/>
                <a:gd name="T10" fmla="*/ 70 w 362"/>
                <a:gd name="T11" fmla="*/ 80 h 217"/>
                <a:gd name="T12" fmla="*/ 70 w 362"/>
                <a:gd name="T13" fmla="*/ 80 h 217"/>
                <a:gd name="T14" fmla="*/ 70 w 362"/>
                <a:gd name="T15" fmla="*/ 80 h 217"/>
                <a:gd name="T16" fmla="*/ 72 w 362"/>
                <a:gd name="T17" fmla="*/ 104 h 217"/>
                <a:gd name="T18" fmla="*/ 96 w 362"/>
                <a:gd name="T19" fmla="*/ 117 h 217"/>
                <a:gd name="T20" fmla="*/ 99 w 362"/>
                <a:gd name="T21" fmla="*/ 117 h 217"/>
                <a:gd name="T22" fmla="*/ 99 w 362"/>
                <a:gd name="T23" fmla="*/ 119 h 217"/>
                <a:gd name="T24" fmla="*/ 94 w 362"/>
                <a:gd name="T25" fmla="*/ 174 h 217"/>
                <a:gd name="T26" fmla="*/ 168 w 362"/>
                <a:gd name="T27" fmla="*/ 176 h 217"/>
                <a:gd name="T28" fmla="*/ 179 w 362"/>
                <a:gd name="T29" fmla="*/ 169 h 217"/>
                <a:gd name="T30" fmla="*/ 179 w 362"/>
                <a:gd name="T31" fmla="*/ 169 h 217"/>
                <a:gd name="T32" fmla="*/ 179 w 362"/>
                <a:gd name="T33" fmla="*/ 169 h 217"/>
                <a:gd name="T34" fmla="*/ 205 w 362"/>
                <a:gd name="T35" fmla="*/ 169 h 217"/>
                <a:gd name="T36" fmla="*/ 205 w 362"/>
                <a:gd name="T37" fmla="*/ 169 h 217"/>
                <a:gd name="T38" fmla="*/ 205 w 362"/>
                <a:gd name="T39" fmla="*/ 171 h 217"/>
                <a:gd name="T40" fmla="*/ 214 w 362"/>
                <a:gd name="T41" fmla="*/ 191 h 217"/>
                <a:gd name="T42" fmla="*/ 234 w 362"/>
                <a:gd name="T43" fmla="*/ 200 h 217"/>
                <a:gd name="T44" fmla="*/ 234 w 362"/>
                <a:gd name="T45" fmla="*/ 200 h 217"/>
                <a:gd name="T46" fmla="*/ 234 w 362"/>
                <a:gd name="T47" fmla="*/ 200 h 217"/>
                <a:gd name="T48" fmla="*/ 251 w 362"/>
                <a:gd name="T49" fmla="*/ 217 h 217"/>
                <a:gd name="T50" fmla="*/ 279 w 362"/>
                <a:gd name="T51" fmla="*/ 189 h 217"/>
                <a:gd name="T52" fmla="*/ 279 w 362"/>
                <a:gd name="T53" fmla="*/ 189 h 217"/>
                <a:gd name="T54" fmla="*/ 279 w 362"/>
                <a:gd name="T55" fmla="*/ 189 h 217"/>
                <a:gd name="T56" fmla="*/ 347 w 362"/>
                <a:gd name="T57" fmla="*/ 189 h 217"/>
                <a:gd name="T58" fmla="*/ 349 w 362"/>
                <a:gd name="T59" fmla="*/ 148 h 217"/>
                <a:gd name="T60" fmla="*/ 349 w 362"/>
                <a:gd name="T61" fmla="*/ 145 h 217"/>
                <a:gd name="T62" fmla="*/ 349 w 362"/>
                <a:gd name="T63" fmla="*/ 145 h 217"/>
                <a:gd name="T64" fmla="*/ 362 w 362"/>
                <a:gd name="T65" fmla="*/ 130 h 217"/>
                <a:gd name="T66" fmla="*/ 347 w 362"/>
                <a:gd name="T67" fmla="*/ 117 h 217"/>
                <a:gd name="T68" fmla="*/ 312 w 362"/>
                <a:gd name="T69" fmla="*/ 126 h 217"/>
                <a:gd name="T70" fmla="*/ 312 w 362"/>
                <a:gd name="T71" fmla="*/ 126 h 217"/>
                <a:gd name="T72" fmla="*/ 310 w 362"/>
                <a:gd name="T73" fmla="*/ 126 h 217"/>
                <a:gd name="T74" fmla="*/ 258 w 362"/>
                <a:gd name="T75" fmla="*/ 93 h 217"/>
                <a:gd name="T76" fmla="*/ 255 w 362"/>
                <a:gd name="T77" fmla="*/ 93 h 217"/>
                <a:gd name="T78" fmla="*/ 255 w 362"/>
                <a:gd name="T79" fmla="*/ 93 h 217"/>
                <a:gd name="T80" fmla="*/ 223 w 362"/>
                <a:gd name="T81" fmla="*/ 33 h 217"/>
                <a:gd name="T82" fmla="*/ 175 w 362"/>
                <a:gd name="T83" fmla="*/ 5 h 217"/>
                <a:gd name="T84" fmla="*/ 99 w 362"/>
                <a:gd name="T85" fmla="*/ 0 h 217"/>
                <a:gd name="T86" fmla="*/ 75 w 362"/>
                <a:gd name="T87" fmla="*/ 18 h 217"/>
                <a:gd name="T88" fmla="*/ 72 w 362"/>
                <a:gd name="T89" fmla="*/ 18 h 217"/>
                <a:gd name="T90" fmla="*/ 72 w 362"/>
                <a:gd name="T91" fmla="*/ 18 h 217"/>
                <a:gd name="T92" fmla="*/ 44 w 362"/>
                <a:gd name="T93" fmla="*/ 20 h 217"/>
                <a:gd name="T94" fmla="*/ 35 w 362"/>
                <a:gd name="T95" fmla="*/ 33 h 217"/>
                <a:gd name="T96" fmla="*/ 35 w 362"/>
                <a:gd name="T97" fmla="*/ 33 h 217"/>
                <a:gd name="T98" fmla="*/ 35 w 362"/>
                <a:gd name="T99" fmla="*/ 33 h 217"/>
                <a:gd name="T100" fmla="*/ 0 w 362"/>
                <a:gd name="T101" fmla="*/ 54 h 217"/>
                <a:gd name="T102" fmla="*/ 0 w 362"/>
                <a:gd name="T103" fmla="*/ 5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62" h="217">
                  <a:moveTo>
                    <a:pt x="0" y="54"/>
                  </a:moveTo>
                  <a:lnTo>
                    <a:pt x="35" y="74"/>
                  </a:lnTo>
                  <a:lnTo>
                    <a:pt x="55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2" y="104"/>
                  </a:lnTo>
                  <a:lnTo>
                    <a:pt x="96" y="117"/>
                  </a:lnTo>
                  <a:lnTo>
                    <a:pt x="99" y="117"/>
                  </a:lnTo>
                  <a:lnTo>
                    <a:pt x="99" y="119"/>
                  </a:lnTo>
                  <a:lnTo>
                    <a:pt x="94" y="174"/>
                  </a:lnTo>
                  <a:lnTo>
                    <a:pt x="168" y="176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179" y="169"/>
                  </a:lnTo>
                  <a:lnTo>
                    <a:pt x="205" y="169"/>
                  </a:lnTo>
                  <a:lnTo>
                    <a:pt x="205" y="169"/>
                  </a:lnTo>
                  <a:lnTo>
                    <a:pt x="205" y="171"/>
                  </a:lnTo>
                  <a:lnTo>
                    <a:pt x="214" y="191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51" y="217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279" y="189"/>
                  </a:lnTo>
                  <a:lnTo>
                    <a:pt x="347" y="189"/>
                  </a:lnTo>
                  <a:lnTo>
                    <a:pt x="349" y="148"/>
                  </a:lnTo>
                  <a:lnTo>
                    <a:pt x="349" y="145"/>
                  </a:lnTo>
                  <a:lnTo>
                    <a:pt x="349" y="145"/>
                  </a:lnTo>
                  <a:lnTo>
                    <a:pt x="362" y="130"/>
                  </a:lnTo>
                  <a:lnTo>
                    <a:pt x="347" y="117"/>
                  </a:lnTo>
                  <a:lnTo>
                    <a:pt x="312" y="126"/>
                  </a:lnTo>
                  <a:lnTo>
                    <a:pt x="312" y="126"/>
                  </a:lnTo>
                  <a:lnTo>
                    <a:pt x="310" y="126"/>
                  </a:lnTo>
                  <a:lnTo>
                    <a:pt x="258" y="93"/>
                  </a:lnTo>
                  <a:lnTo>
                    <a:pt x="255" y="93"/>
                  </a:lnTo>
                  <a:lnTo>
                    <a:pt x="255" y="93"/>
                  </a:lnTo>
                  <a:lnTo>
                    <a:pt x="223" y="33"/>
                  </a:lnTo>
                  <a:lnTo>
                    <a:pt x="175" y="5"/>
                  </a:lnTo>
                  <a:lnTo>
                    <a:pt x="99" y="0"/>
                  </a:lnTo>
                  <a:lnTo>
                    <a:pt x="75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44" y="20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0" y="54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09">
              <a:extLst>
                <a:ext uri="{FF2B5EF4-FFF2-40B4-BE49-F238E27FC236}">
                  <a16:creationId xmlns:a16="http://schemas.microsoft.com/office/drawing/2014/main" xmlns="" id="{DC78FEC0-A989-4ED6-9121-DD0F874786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" y="1658"/>
              <a:ext cx="399" cy="289"/>
            </a:xfrm>
            <a:custGeom>
              <a:avLst/>
              <a:gdLst>
                <a:gd name="T0" fmla="*/ 329 w 399"/>
                <a:gd name="T1" fmla="*/ 276 h 289"/>
                <a:gd name="T2" fmla="*/ 324 w 399"/>
                <a:gd name="T3" fmla="*/ 258 h 289"/>
                <a:gd name="T4" fmla="*/ 333 w 399"/>
                <a:gd name="T5" fmla="*/ 204 h 289"/>
                <a:gd name="T6" fmla="*/ 335 w 399"/>
                <a:gd name="T7" fmla="*/ 202 h 289"/>
                <a:gd name="T8" fmla="*/ 399 w 399"/>
                <a:gd name="T9" fmla="*/ 172 h 289"/>
                <a:gd name="T10" fmla="*/ 359 w 399"/>
                <a:gd name="T11" fmla="*/ 130 h 289"/>
                <a:gd name="T12" fmla="*/ 357 w 399"/>
                <a:gd name="T13" fmla="*/ 130 h 289"/>
                <a:gd name="T14" fmla="*/ 296 w 399"/>
                <a:gd name="T15" fmla="*/ 98 h 289"/>
                <a:gd name="T16" fmla="*/ 294 w 399"/>
                <a:gd name="T17" fmla="*/ 98 h 289"/>
                <a:gd name="T18" fmla="*/ 268 w 399"/>
                <a:gd name="T19" fmla="*/ 74 h 289"/>
                <a:gd name="T20" fmla="*/ 261 w 399"/>
                <a:gd name="T21" fmla="*/ 55 h 289"/>
                <a:gd name="T22" fmla="*/ 235 w 399"/>
                <a:gd name="T23" fmla="*/ 46 h 289"/>
                <a:gd name="T24" fmla="*/ 231 w 399"/>
                <a:gd name="T25" fmla="*/ 65 h 289"/>
                <a:gd name="T26" fmla="*/ 178 w 399"/>
                <a:gd name="T27" fmla="*/ 61 h 289"/>
                <a:gd name="T28" fmla="*/ 176 w 399"/>
                <a:gd name="T29" fmla="*/ 61 h 289"/>
                <a:gd name="T30" fmla="*/ 111 w 399"/>
                <a:gd name="T31" fmla="*/ 33 h 289"/>
                <a:gd name="T32" fmla="*/ 111 w 399"/>
                <a:gd name="T33" fmla="*/ 33 h 289"/>
                <a:gd name="T34" fmla="*/ 85 w 399"/>
                <a:gd name="T35" fmla="*/ 13 h 289"/>
                <a:gd name="T36" fmla="*/ 72 w 399"/>
                <a:gd name="T37" fmla="*/ 0 h 289"/>
                <a:gd name="T38" fmla="*/ 50 w 399"/>
                <a:gd name="T39" fmla="*/ 46 h 289"/>
                <a:gd name="T40" fmla="*/ 50 w 399"/>
                <a:gd name="T41" fmla="*/ 46 h 289"/>
                <a:gd name="T42" fmla="*/ 35 w 399"/>
                <a:gd name="T43" fmla="*/ 70 h 289"/>
                <a:gd name="T44" fmla="*/ 0 w 399"/>
                <a:gd name="T45" fmla="*/ 76 h 289"/>
                <a:gd name="T46" fmla="*/ 37 w 399"/>
                <a:gd name="T47" fmla="*/ 150 h 289"/>
                <a:gd name="T48" fmla="*/ 107 w 399"/>
                <a:gd name="T49" fmla="*/ 174 h 289"/>
                <a:gd name="T50" fmla="*/ 107 w 399"/>
                <a:gd name="T51" fmla="*/ 176 h 289"/>
                <a:gd name="T52" fmla="*/ 128 w 399"/>
                <a:gd name="T53" fmla="*/ 219 h 289"/>
                <a:gd name="T54" fmla="*/ 130 w 399"/>
                <a:gd name="T55" fmla="*/ 221 h 289"/>
                <a:gd name="T56" fmla="*/ 170 w 399"/>
                <a:gd name="T57" fmla="*/ 219 h 289"/>
                <a:gd name="T58" fmla="*/ 176 w 399"/>
                <a:gd name="T59" fmla="*/ 213 h 289"/>
                <a:gd name="T60" fmla="*/ 185 w 399"/>
                <a:gd name="T61" fmla="*/ 217 h 289"/>
                <a:gd name="T62" fmla="*/ 187 w 399"/>
                <a:gd name="T63" fmla="*/ 219 h 289"/>
                <a:gd name="T64" fmla="*/ 231 w 399"/>
                <a:gd name="T65" fmla="*/ 267 h 289"/>
                <a:gd name="T66" fmla="*/ 277 w 399"/>
                <a:gd name="T67" fmla="*/ 267 h 289"/>
                <a:gd name="T68" fmla="*/ 296 w 399"/>
                <a:gd name="T69" fmla="*/ 28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9" h="289">
                  <a:moveTo>
                    <a:pt x="296" y="289"/>
                  </a:moveTo>
                  <a:lnTo>
                    <a:pt x="329" y="276"/>
                  </a:lnTo>
                  <a:lnTo>
                    <a:pt x="324" y="260"/>
                  </a:lnTo>
                  <a:lnTo>
                    <a:pt x="324" y="258"/>
                  </a:lnTo>
                  <a:lnTo>
                    <a:pt x="324" y="258"/>
                  </a:lnTo>
                  <a:lnTo>
                    <a:pt x="333" y="204"/>
                  </a:lnTo>
                  <a:lnTo>
                    <a:pt x="333" y="202"/>
                  </a:lnTo>
                  <a:lnTo>
                    <a:pt x="335" y="202"/>
                  </a:lnTo>
                  <a:lnTo>
                    <a:pt x="364" y="204"/>
                  </a:lnTo>
                  <a:lnTo>
                    <a:pt x="399" y="172"/>
                  </a:lnTo>
                  <a:lnTo>
                    <a:pt x="394" y="130"/>
                  </a:lnTo>
                  <a:lnTo>
                    <a:pt x="359" y="130"/>
                  </a:lnTo>
                  <a:lnTo>
                    <a:pt x="359" y="133"/>
                  </a:lnTo>
                  <a:lnTo>
                    <a:pt x="357" y="130"/>
                  </a:lnTo>
                  <a:lnTo>
                    <a:pt x="318" y="96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4" y="98"/>
                  </a:lnTo>
                  <a:lnTo>
                    <a:pt x="268" y="74"/>
                  </a:lnTo>
                  <a:lnTo>
                    <a:pt x="268" y="74"/>
                  </a:lnTo>
                  <a:lnTo>
                    <a:pt x="266" y="74"/>
                  </a:lnTo>
                  <a:lnTo>
                    <a:pt x="261" y="55"/>
                  </a:lnTo>
                  <a:lnTo>
                    <a:pt x="242" y="39"/>
                  </a:lnTo>
                  <a:lnTo>
                    <a:pt x="235" y="46"/>
                  </a:lnTo>
                  <a:lnTo>
                    <a:pt x="231" y="63"/>
                  </a:lnTo>
                  <a:lnTo>
                    <a:pt x="231" y="65"/>
                  </a:lnTo>
                  <a:lnTo>
                    <a:pt x="229" y="65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6" y="61"/>
                  </a:lnTo>
                  <a:lnTo>
                    <a:pt x="161" y="46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85" y="16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72" y="0"/>
                  </a:lnTo>
                  <a:lnTo>
                    <a:pt x="59" y="13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0" y="76"/>
                  </a:lnTo>
                  <a:lnTo>
                    <a:pt x="8" y="96"/>
                  </a:lnTo>
                  <a:lnTo>
                    <a:pt x="37" y="150"/>
                  </a:lnTo>
                  <a:lnTo>
                    <a:pt x="59" y="165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6"/>
                  </a:lnTo>
                  <a:lnTo>
                    <a:pt x="111" y="198"/>
                  </a:lnTo>
                  <a:lnTo>
                    <a:pt x="128" y="219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28" y="224"/>
                  </a:lnTo>
                  <a:lnTo>
                    <a:pt x="170" y="219"/>
                  </a:lnTo>
                  <a:lnTo>
                    <a:pt x="174" y="213"/>
                  </a:lnTo>
                  <a:lnTo>
                    <a:pt x="176" y="213"/>
                  </a:lnTo>
                  <a:lnTo>
                    <a:pt x="176" y="213"/>
                  </a:lnTo>
                  <a:lnTo>
                    <a:pt x="185" y="217"/>
                  </a:lnTo>
                  <a:lnTo>
                    <a:pt x="187" y="217"/>
                  </a:lnTo>
                  <a:lnTo>
                    <a:pt x="187" y="219"/>
                  </a:lnTo>
                  <a:lnTo>
                    <a:pt x="185" y="237"/>
                  </a:lnTo>
                  <a:lnTo>
                    <a:pt x="231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77" y="267"/>
                  </a:lnTo>
                  <a:lnTo>
                    <a:pt x="296" y="289"/>
                  </a:lnTo>
                  <a:lnTo>
                    <a:pt x="296" y="2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Freeform 210">
              <a:extLst>
                <a:ext uri="{FF2B5EF4-FFF2-40B4-BE49-F238E27FC236}">
                  <a16:creationId xmlns:a16="http://schemas.microsoft.com/office/drawing/2014/main" xmlns="" id="{120FCE6D-F016-4199-AE4F-4B683272FE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3" y="1832"/>
              <a:ext cx="211" cy="182"/>
            </a:xfrm>
            <a:custGeom>
              <a:avLst/>
              <a:gdLst>
                <a:gd name="T0" fmla="*/ 211 w 211"/>
                <a:gd name="T1" fmla="*/ 121 h 182"/>
                <a:gd name="T2" fmla="*/ 183 w 211"/>
                <a:gd name="T3" fmla="*/ 95 h 182"/>
                <a:gd name="T4" fmla="*/ 183 w 211"/>
                <a:gd name="T5" fmla="*/ 93 h 182"/>
                <a:gd name="T6" fmla="*/ 183 w 211"/>
                <a:gd name="T7" fmla="*/ 93 h 182"/>
                <a:gd name="T8" fmla="*/ 194 w 211"/>
                <a:gd name="T9" fmla="*/ 54 h 182"/>
                <a:gd name="T10" fmla="*/ 172 w 211"/>
                <a:gd name="T11" fmla="*/ 30 h 182"/>
                <a:gd name="T12" fmla="*/ 155 w 211"/>
                <a:gd name="T13" fmla="*/ 30 h 182"/>
                <a:gd name="T14" fmla="*/ 155 w 211"/>
                <a:gd name="T15" fmla="*/ 30 h 182"/>
                <a:gd name="T16" fmla="*/ 155 w 211"/>
                <a:gd name="T17" fmla="*/ 30 h 182"/>
                <a:gd name="T18" fmla="*/ 107 w 211"/>
                <a:gd name="T19" fmla="*/ 0 h 182"/>
                <a:gd name="T20" fmla="*/ 72 w 211"/>
                <a:gd name="T21" fmla="*/ 34 h 182"/>
                <a:gd name="T22" fmla="*/ 72 w 211"/>
                <a:gd name="T23" fmla="*/ 34 h 182"/>
                <a:gd name="T24" fmla="*/ 70 w 211"/>
                <a:gd name="T25" fmla="*/ 34 h 182"/>
                <a:gd name="T26" fmla="*/ 44 w 211"/>
                <a:gd name="T27" fmla="*/ 32 h 182"/>
                <a:gd name="T28" fmla="*/ 35 w 211"/>
                <a:gd name="T29" fmla="*/ 84 h 182"/>
                <a:gd name="T30" fmla="*/ 39 w 211"/>
                <a:gd name="T31" fmla="*/ 102 h 182"/>
                <a:gd name="T32" fmla="*/ 39 w 211"/>
                <a:gd name="T33" fmla="*/ 104 h 182"/>
                <a:gd name="T34" fmla="*/ 37 w 211"/>
                <a:gd name="T35" fmla="*/ 104 h 182"/>
                <a:gd name="T36" fmla="*/ 4 w 211"/>
                <a:gd name="T37" fmla="*/ 119 h 182"/>
                <a:gd name="T38" fmla="*/ 0 w 211"/>
                <a:gd name="T39" fmla="*/ 136 h 182"/>
                <a:gd name="T40" fmla="*/ 2 w 211"/>
                <a:gd name="T41" fmla="*/ 162 h 182"/>
                <a:gd name="T42" fmla="*/ 20 w 211"/>
                <a:gd name="T43" fmla="*/ 182 h 182"/>
                <a:gd name="T44" fmla="*/ 41 w 211"/>
                <a:gd name="T45" fmla="*/ 164 h 182"/>
                <a:gd name="T46" fmla="*/ 41 w 211"/>
                <a:gd name="T47" fmla="*/ 162 h 182"/>
                <a:gd name="T48" fmla="*/ 44 w 211"/>
                <a:gd name="T49" fmla="*/ 164 h 182"/>
                <a:gd name="T50" fmla="*/ 48 w 211"/>
                <a:gd name="T51" fmla="*/ 169 h 182"/>
                <a:gd name="T52" fmla="*/ 89 w 211"/>
                <a:gd name="T53" fmla="*/ 164 h 182"/>
                <a:gd name="T54" fmla="*/ 89 w 211"/>
                <a:gd name="T55" fmla="*/ 164 h 182"/>
                <a:gd name="T56" fmla="*/ 89 w 211"/>
                <a:gd name="T57" fmla="*/ 164 h 182"/>
                <a:gd name="T58" fmla="*/ 111 w 211"/>
                <a:gd name="T59" fmla="*/ 175 h 182"/>
                <a:gd name="T60" fmla="*/ 146 w 211"/>
                <a:gd name="T61" fmla="*/ 154 h 182"/>
                <a:gd name="T62" fmla="*/ 155 w 211"/>
                <a:gd name="T63" fmla="*/ 138 h 182"/>
                <a:gd name="T64" fmla="*/ 157 w 211"/>
                <a:gd name="T65" fmla="*/ 138 h 182"/>
                <a:gd name="T66" fmla="*/ 157 w 211"/>
                <a:gd name="T67" fmla="*/ 138 h 182"/>
                <a:gd name="T68" fmla="*/ 187 w 211"/>
                <a:gd name="T69" fmla="*/ 136 h 182"/>
                <a:gd name="T70" fmla="*/ 211 w 211"/>
                <a:gd name="T71" fmla="*/ 121 h 182"/>
                <a:gd name="T72" fmla="*/ 211 w 211"/>
                <a:gd name="T73" fmla="*/ 12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1" h="182">
                  <a:moveTo>
                    <a:pt x="211" y="121"/>
                  </a:moveTo>
                  <a:lnTo>
                    <a:pt x="183" y="95"/>
                  </a:lnTo>
                  <a:lnTo>
                    <a:pt x="183" y="93"/>
                  </a:lnTo>
                  <a:lnTo>
                    <a:pt x="183" y="93"/>
                  </a:lnTo>
                  <a:lnTo>
                    <a:pt x="194" y="54"/>
                  </a:lnTo>
                  <a:lnTo>
                    <a:pt x="172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55" y="30"/>
                  </a:lnTo>
                  <a:lnTo>
                    <a:pt x="107" y="0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0" y="34"/>
                  </a:lnTo>
                  <a:lnTo>
                    <a:pt x="44" y="32"/>
                  </a:lnTo>
                  <a:lnTo>
                    <a:pt x="35" y="84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4" y="119"/>
                  </a:lnTo>
                  <a:lnTo>
                    <a:pt x="0" y="136"/>
                  </a:lnTo>
                  <a:lnTo>
                    <a:pt x="2" y="162"/>
                  </a:lnTo>
                  <a:lnTo>
                    <a:pt x="20" y="182"/>
                  </a:lnTo>
                  <a:lnTo>
                    <a:pt x="41" y="164"/>
                  </a:lnTo>
                  <a:lnTo>
                    <a:pt x="41" y="162"/>
                  </a:lnTo>
                  <a:lnTo>
                    <a:pt x="44" y="164"/>
                  </a:lnTo>
                  <a:lnTo>
                    <a:pt x="48" y="169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89" y="164"/>
                  </a:lnTo>
                  <a:lnTo>
                    <a:pt x="111" y="175"/>
                  </a:lnTo>
                  <a:lnTo>
                    <a:pt x="146" y="154"/>
                  </a:lnTo>
                  <a:lnTo>
                    <a:pt x="155" y="138"/>
                  </a:lnTo>
                  <a:lnTo>
                    <a:pt x="157" y="138"/>
                  </a:lnTo>
                  <a:lnTo>
                    <a:pt x="157" y="138"/>
                  </a:lnTo>
                  <a:lnTo>
                    <a:pt x="187" y="136"/>
                  </a:lnTo>
                  <a:lnTo>
                    <a:pt x="211" y="121"/>
                  </a:lnTo>
                  <a:lnTo>
                    <a:pt x="211" y="1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Freeform 211">
              <a:extLst>
                <a:ext uri="{FF2B5EF4-FFF2-40B4-BE49-F238E27FC236}">
                  <a16:creationId xmlns:a16="http://schemas.microsoft.com/office/drawing/2014/main" xmlns="" id="{106DCFDF-6FA3-4D7B-98F2-A77359194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2" y="2621"/>
              <a:ext cx="484" cy="565"/>
            </a:xfrm>
            <a:custGeom>
              <a:avLst/>
              <a:gdLst>
                <a:gd name="T0" fmla="*/ 0 w 484"/>
                <a:gd name="T1" fmla="*/ 166 h 565"/>
                <a:gd name="T2" fmla="*/ 28 w 484"/>
                <a:gd name="T3" fmla="*/ 197 h 565"/>
                <a:gd name="T4" fmla="*/ 63 w 484"/>
                <a:gd name="T5" fmla="*/ 197 h 565"/>
                <a:gd name="T6" fmla="*/ 57 w 484"/>
                <a:gd name="T7" fmla="*/ 229 h 565"/>
                <a:gd name="T8" fmla="*/ 87 w 484"/>
                <a:gd name="T9" fmla="*/ 244 h 565"/>
                <a:gd name="T10" fmla="*/ 105 w 484"/>
                <a:gd name="T11" fmla="*/ 316 h 565"/>
                <a:gd name="T12" fmla="*/ 105 w 484"/>
                <a:gd name="T13" fmla="*/ 361 h 565"/>
                <a:gd name="T14" fmla="*/ 142 w 484"/>
                <a:gd name="T15" fmla="*/ 348 h 565"/>
                <a:gd name="T16" fmla="*/ 157 w 484"/>
                <a:gd name="T17" fmla="*/ 396 h 565"/>
                <a:gd name="T18" fmla="*/ 194 w 484"/>
                <a:gd name="T19" fmla="*/ 394 h 565"/>
                <a:gd name="T20" fmla="*/ 248 w 484"/>
                <a:gd name="T21" fmla="*/ 411 h 565"/>
                <a:gd name="T22" fmla="*/ 257 w 484"/>
                <a:gd name="T23" fmla="*/ 442 h 565"/>
                <a:gd name="T24" fmla="*/ 290 w 484"/>
                <a:gd name="T25" fmla="*/ 429 h 565"/>
                <a:gd name="T26" fmla="*/ 325 w 484"/>
                <a:gd name="T27" fmla="*/ 459 h 565"/>
                <a:gd name="T28" fmla="*/ 325 w 484"/>
                <a:gd name="T29" fmla="*/ 507 h 565"/>
                <a:gd name="T30" fmla="*/ 364 w 484"/>
                <a:gd name="T31" fmla="*/ 537 h 565"/>
                <a:gd name="T32" fmla="*/ 394 w 484"/>
                <a:gd name="T33" fmla="*/ 530 h 565"/>
                <a:gd name="T34" fmla="*/ 447 w 484"/>
                <a:gd name="T35" fmla="*/ 565 h 565"/>
                <a:gd name="T36" fmla="*/ 484 w 484"/>
                <a:gd name="T37" fmla="*/ 524 h 565"/>
                <a:gd name="T38" fmla="*/ 447 w 484"/>
                <a:gd name="T39" fmla="*/ 452 h 565"/>
                <a:gd name="T40" fmla="*/ 447 w 484"/>
                <a:gd name="T41" fmla="*/ 452 h 565"/>
                <a:gd name="T42" fmla="*/ 440 w 484"/>
                <a:gd name="T43" fmla="*/ 429 h 565"/>
                <a:gd name="T44" fmla="*/ 458 w 484"/>
                <a:gd name="T45" fmla="*/ 416 h 565"/>
                <a:gd name="T46" fmla="*/ 453 w 484"/>
                <a:gd name="T47" fmla="*/ 383 h 565"/>
                <a:gd name="T48" fmla="*/ 388 w 484"/>
                <a:gd name="T49" fmla="*/ 374 h 565"/>
                <a:gd name="T50" fmla="*/ 377 w 484"/>
                <a:gd name="T51" fmla="*/ 403 h 565"/>
                <a:gd name="T52" fmla="*/ 347 w 484"/>
                <a:gd name="T53" fmla="*/ 398 h 565"/>
                <a:gd name="T54" fmla="*/ 347 w 484"/>
                <a:gd name="T55" fmla="*/ 398 h 565"/>
                <a:gd name="T56" fmla="*/ 275 w 484"/>
                <a:gd name="T57" fmla="*/ 364 h 565"/>
                <a:gd name="T58" fmla="*/ 275 w 484"/>
                <a:gd name="T59" fmla="*/ 364 h 565"/>
                <a:gd name="T60" fmla="*/ 264 w 484"/>
                <a:gd name="T61" fmla="*/ 342 h 565"/>
                <a:gd name="T62" fmla="*/ 281 w 484"/>
                <a:gd name="T63" fmla="*/ 322 h 565"/>
                <a:gd name="T64" fmla="*/ 270 w 484"/>
                <a:gd name="T65" fmla="*/ 309 h 565"/>
                <a:gd name="T66" fmla="*/ 270 w 484"/>
                <a:gd name="T67" fmla="*/ 296 h 565"/>
                <a:gd name="T68" fmla="*/ 272 w 484"/>
                <a:gd name="T69" fmla="*/ 294 h 565"/>
                <a:gd name="T70" fmla="*/ 290 w 484"/>
                <a:gd name="T71" fmla="*/ 262 h 565"/>
                <a:gd name="T72" fmla="*/ 255 w 484"/>
                <a:gd name="T73" fmla="*/ 270 h 565"/>
                <a:gd name="T74" fmla="*/ 253 w 484"/>
                <a:gd name="T75" fmla="*/ 270 h 565"/>
                <a:gd name="T76" fmla="*/ 248 w 484"/>
                <a:gd name="T77" fmla="*/ 236 h 565"/>
                <a:gd name="T78" fmla="*/ 259 w 484"/>
                <a:gd name="T79" fmla="*/ 229 h 565"/>
                <a:gd name="T80" fmla="*/ 251 w 484"/>
                <a:gd name="T81" fmla="*/ 199 h 565"/>
                <a:gd name="T82" fmla="*/ 251 w 484"/>
                <a:gd name="T83" fmla="*/ 197 h 565"/>
                <a:gd name="T84" fmla="*/ 240 w 484"/>
                <a:gd name="T85" fmla="*/ 134 h 565"/>
                <a:gd name="T86" fmla="*/ 238 w 484"/>
                <a:gd name="T87" fmla="*/ 132 h 565"/>
                <a:gd name="T88" fmla="*/ 227 w 484"/>
                <a:gd name="T89" fmla="*/ 43 h 565"/>
                <a:gd name="T90" fmla="*/ 227 w 484"/>
                <a:gd name="T91" fmla="*/ 41 h 565"/>
                <a:gd name="T92" fmla="*/ 216 w 484"/>
                <a:gd name="T93" fmla="*/ 0 h 565"/>
                <a:gd name="T94" fmla="*/ 214 w 484"/>
                <a:gd name="T95" fmla="*/ 2 h 565"/>
                <a:gd name="T96" fmla="*/ 205 w 484"/>
                <a:gd name="T97" fmla="*/ 30 h 565"/>
                <a:gd name="T98" fmla="*/ 198 w 484"/>
                <a:gd name="T99" fmla="*/ 43 h 565"/>
                <a:gd name="T100" fmla="*/ 198 w 484"/>
                <a:gd name="T101" fmla="*/ 43 h 565"/>
                <a:gd name="T102" fmla="*/ 137 w 484"/>
                <a:gd name="T103" fmla="*/ 93 h 565"/>
                <a:gd name="T104" fmla="*/ 137 w 484"/>
                <a:gd name="T105" fmla="*/ 93 h 565"/>
                <a:gd name="T106" fmla="*/ 102 w 484"/>
                <a:gd name="T107" fmla="*/ 104 h 565"/>
                <a:gd name="T108" fmla="*/ 87 w 484"/>
                <a:gd name="T109" fmla="*/ 106 h 565"/>
                <a:gd name="T110" fmla="*/ 52 w 484"/>
                <a:gd name="T111" fmla="*/ 136 h 565"/>
                <a:gd name="T112" fmla="*/ 2 w 484"/>
                <a:gd name="T113" fmla="*/ 140 h 565"/>
                <a:gd name="T114" fmla="*/ 0 w 484"/>
                <a:gd name="T115" fmla="*/ 140 h 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84" h="565">
                  <a:moveTo>
                    <a:pt x="0" y="140"/>
                  </a:moveTo>
                  <a:lnTo>
                    <a:pt x="0" y="166"/>
                  </a:lnTo>
                  <a:lnTo>
                    <a:pt x="13" y="199"/>
                  </a:lnTo>
                  <a:lnTo>
                    <a:pt x="28" y="197"/>
                  </a:lnTo>
                  <a:lnTo>
                    <a:pt x="39" y="186"/>
                  </a:lnTo>
                  <a:lnTo>
                    <a:pt x="63" y="197"/>
                  </a:lnTo>
                  <a:lnTo>
                    <a:pt x="63" y="214"/>
                  </a:lnTo>
                  <a:lnTo>
                    <a:pt x="57" y="229"/>
                  </a:lnTo>
                  <a:lnTo>
                    <a:pt x="63" y="238"/>
                  </a:lnTo>
                  <a:lnTo>
                    <a:pt x="87" y="244"/>
                  </a:lnTo>
                  <a:lnTo>
                    <a:pt x="96" y="277"/>
                  </a:lnTo>
                  <a:lnTo>
                    <a:pt x="105" y="316"/>
                  </a:lnTo>
                  <a:lnTo>
                    <a:pt x="94" y="342"/>
                  </a:lnTo>
                  <a:lnTo>
                    <a:pt x="105" y="361"/>
                  </a:lnTo>
                  <a:lnTo>
                    <a:pt x="131" y="346"/>
                  </a:lnTo>
                  <a:lnTo>
                    <a:pt x="142" y="348"/>
                  </a:lnTo>
                  <a:lnTo>
                    <a:pt x="150" y="366"/>
                  </a:lnTo>
                  <a:lnTo>
                    <a:pt x="157" y="396"/>
                  </a:lnTo>
                  <a:lnTo>
                    <a:pt x="172" y="409"/>
                  </a:lnTo>
                  <a:lnTo>
                    <a:pt x="194" y="394"/>
                  </a:lnTo>
                  <a:lnTo>
                    <a:pt x="214" y="396"/>
                  </a:lnTo>
                  <a:lnTo>
                    <a:pt x="248" y="411"/>
                  </a:lnTo>
                  <a:lnTo>
                    <a:pt x="248" y="429"/>
                  </a:lnTo>
                  <a:lnTo>
                    <a:pt x="257" y="442"/>
                  </a:lnTo>
                  <a:lnTo>
                    <a:pt x="275" y="446"/>
                  </a:lnTo>
                  <a:lnTo>
                    <a:pt x="290" y="429"/>
                  </a:lnTo>
                  <a:lnTo>
                    <a:pt x="305" y="446"/>
                  </a:lnTo>
                  <a:lnTo>
                    <a:pt x="325" y="459"/>
                  </a:lnTo>
                  <a:lnTo>
                    <a:pt x="320" y="489"/>
                  </a:lnTo>
                  <a:lnTo>
                    <a:pt x="325" y="507"/>
                  </a:lnTo>
                  <a:lnTo>
                    <a:pt x="347" y="530"/>
                  </a:lnTo>
                  <a:lnTo>
                    <a:pt x="364" y="537"/>
                  </a:lnTo>
                  <a:lnTo>
                    <a:pt x="381" y="526"/>
                  </a:lnTo>
                  <a:lnTo>
                    <a:pt x="394" y="530"/>
                  </a:lnTo>
                  <a:lnTo>
                    <a:pt x="403" y="550"/>
                  </a:lnTo>
                  <a:lnTo>
                    <a:pt x="447" y="565"/>
                  </a:lnTo>
                  <a:lnTo>
                    <a:pt x="464" y="550"/>
                  </a:lnTo>
                  <a:lnTo>
                    <a:pt x="484" y="524"/>
                  </a:lnTo>
                  <a:lnTo>
                    <a:pt x="451" y="455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7" y="452"/>
                  </a:lnTo>
                  <a:lnTo>
                    <a:pt x="440" y="431"/>
                  </a:lnTo>
                  <a:lnTo>
                    <a:pt x="440" y="429"/>
                  </a:lnTo>
                  <a:lnTo>
                    <a:pt x="440" y="429"/>
                  </a:lnTo>
                  <a:lnTo>
                    <a:pt x="458" y="416"/>
                  </a:lnTo>
                  <a:lnTo>
                    <a:pt x="462" y="403"/>
                  </a:lnTo>
                  <a:lnTo>
                    <a:pt x="453" y="383"/>
                  </a:lnTo>
                  <a:lnTo>
                    <a:pt x="408" y="370"/>
                  </a:lnTo>
                  <a:lnTo>
                    <a:pt x="388" y="374"/>
                  </a:lnTo>
                  <a:lnTo>
                    <a:pt x="377" y="400"/>
                  </a:lnTo>
                  <a:lnTo>
                    <a:pt x="377" y="403"/>
                  </a:lnTo>
                  <a:lnTo>
                    <a:pt x="375" y="403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47" y="398"/>
                  </a:lnTo>
                  <a:lnTo>
                    <a:pt x="320" y="37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75" y="364"/>
                  </a:lnTo>
                  <a:lnTo>
                    <a:pt x="264" y="344"/>
                  </a:lnTo>
                  <a:lnTo>
                    <a:pt x="264" y="342"/>
                  </a:lnTo>
                  <a:lnTo>
                    <a:pt x="264" y="342"/>
                  </a:lnTo>
                  <a:lnTo>
                    <a:pt x="281" y="322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309"/>
                  </a:lnTo>
                  <a:lnTo>
                    <a:pt x="270" y="296"/>
                  </a:lnTo>
                  <a:lnTo>
                    <a:pt x="270" y="294"/>
                  </a:lnTo>
                  <a:lnTo>
                    <a:pt x="272" y="294"/>
                  </a:lnTo>
                  <a:lnTo>
                    <a:pt x="290" y="290"/>
                  </a:lnTo>
                  <a:lnTo>
                    <a:pt x="290" y="262"/>
                  </a:lnTo>
                  <a:lnTo>
                    <a:pt x="268" y="264"/>
                  </a:lnTo>
                  <a:lnTo>
                    <a:pt x="255" y="270"/>
                  </a:lnTo>
                  <a:lnTo>
                    <a:pt x="253" y="273"/>
                  </a:lnTo>
                  <a:lnTo>
                    <a:pt x="253" y="270"/>
                  </a:lnTo>
                  <a:lnTo>
                    <a:pt x="248" y="236"/>
                  </a:lnTo>
                  <a:lnTo>
                    <a:pt x="248" y="236"/>
                  </a:lnTo>
                  <a:lnTo>
                    <a:pt x="251" y="234"/>
                  </a:lnTo>
                  <a:lnTo>
                    <a:pt x="259" y="229"/>
                  </a:lnTo>
                  <a:lnTo>
                    <a:pt x="262" y="210"/>
                  </a:lnTo>
                  <a:lnTo>
                    <a:pt x="251" y="199"/>
                  </a:lnTo>
                  <a:lnTo>
                    <a:pt x="251" y="199"/>
                  </a:lnTo>
                  <a:lnTo>
                    <a:pt x="251" y="197"/>
                  </a:lnTo>
                  <a:lnTo>
                    <a:pt x="251" y="151"/>
                  </a:lnTo>
                  <a:lnTo>
                    <a:pt x="240" y="134"/>
                  </a:lnTo>
                  <a:lnTo>
                    <a:pt x="238" y="132"/>
                  </a:lnTo>
                  <a:lnTo>
                    <a:pt x="238" y="132"/>
                  </a:lnTo>
                  <a:lnTo>
                    <a:pt x="238" y="71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1"/>
                  </a:lnTo>
                  <a:lnTo>
                    <a:pt x="231" y="17"/>
                  </a:lnTo>
                  <a:lnTo>
                    <a:pt x="216" y="0"/>
                  </a:lnTo>
                  <a:lnTo>
                    <a:pt x="214" y="2"/>
                  </a:lnTo>
                  <a:lnTo>
                    <a:pt x="214" y="2"/>
                  </a:lnTo>
                  <a:lnTo>
                    <a:pt x="207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98" y="43"/>
                  </a:lnTo>
                  <a:lnTo>
                    <a:pt x="150" y="69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05" y="104"/>
                  </a:lnTo>
                  <a:lnTo>
                    <a:pt x="102" y="104"/>
                  </a:lnTo>
                  <a:lnTo>
                    <a:pt x="102" y="104"/>
                  </a:lnTo>
                  <a:lnTo>
                    <a:pt x="87" y="10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2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Freeform 212">
              <a:extLst>
                <a:ext uri="{FF2B5EF4-FFF2-40B4-BE49-F238E27FC236}">
                  <a16:creationId xmlns:a16="http://schemas.microsoft.com/office/drawing/2014/main" xmlns="" id="{CA98F436-AFE5-435F-B818-ECFBB461E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417"/>
              <a:ext cx="366" cy="409"/>
            </a:xfrm>
            <a:custGeom>
              <a:avLst/>
              <a:gdLst>
                <a:gd name="T0" fmla="*/ 148 w 366"/>
                <a:gd name="T1" fmla="*/ 347 h 409"/>
                <a:gd name="T2" fmla="*/ 142 w 366"/>
                <a:gd name="T3" fmla="*/ 388 h 409"/>
                <a:gd name="T4" fmla="*/ 179 w 366"/>
                <a:gd name="T5" fmla="*/ 399 h 409"/>
                <a:gd name="T6" fmla="*/ 207 w 366"/>
                <a:gd name="T7" fmla="*/ 357 h 409"/>
                <a:gd name="T8" fmla="*/ 261 w 366"/>
                <a:gd name="T9" fmla="*/ 349 h 409"/>
                <a:gd name="T10" fmla="*/ 285 w 366"/>
                <a:gd name="T11" fmla="*/ 355 h 409"/>
                <a:gd name="T12" fmla="*/ 346 w 366"/>
                <a:gd name="T13" fmla="*/ 347 h 409"/>
                <a:gd name="T14" fmla="*/ 364 w 366"/>
                <a:gd name="T15" fmla="*/ 340 h 409"/>
                <a:gd name="T16" fmla="*/ 364 w 366"/>
                <a:gd name="T17" fmla="*/ 312 h 409"/>
                <a:gd name="T18" fmla="*/ 346 w 366"/>
                <a:gd name="T19" fmla="*/ 288 h 409"/>
                <a:gd name="T20" fmla="*/ 349 w 366"/>
                <a:gd name="T21" fmla="*/ 256 h 409"/>
                <a:gd name="T22" fmla="*/ 329 w 366"/>
                <a:gd name="T23" fmla="*/ 232 h 409"/>
                <a:gd name="T24" fmla="*/ 320 w 366"/>
                <a:gd name="T25" fmla="*/ 204 h 409"/>
                <a:gd name="T26" fmla="*/ 320 w 366"/>
                <a:gd name="T27" fmla="*/ 201 h 409"/>
                <a:gd name="T28" fmla="*/ 303 w 366"/>
                <a:gd name="T29" fmla="*/ 182 h 409"/>
                <a:gd name="T30" fmla="*/ 303 w 366"/>
                <a:gd name="T31" fmla="*/ 182 h 409"/>
                <a:gd name="T32" fmla="*/ 253 w 366"/>
                <a:gd name="T33" fmla="*/ 154 h 409"/>
                <a:gd name="T34" fmla="*/ 253 w 366"/>
                <a:gd name="T35" fmla="*/ 128 h 409"/>
                <a:gd name="T36" fmla="*/ 205 w 366"/>
                <a:gd name="T37" fmla="*/ 119 h 409"/>
                <a:gd name="T38" fmla="*/ 155 w 366"/>
                <a:gd name="T39" fmla="*/ 89 h 409"/>
                <a:gd name="T40" fmla="*/ 155 w 366"/>
                <a:gd name="T41" fmla="*/ 87 h 409"/>
                <a:gd name="T42" fmla="*/ 146 w 366"/>
                <a:gd name="T43" fmla="*/ 58 h 409"/>
                <a:gd name="T44" fmla="*/ 122 w 366"/>
                <a:gd name="T45" fmla="*/ 56 h 409"/>
                <a:gd name="T46" fmla="*/ 85 w 366"/>
                <a:gd name="T47" fmla="*/ 0 h 409"/>
                <a:gd name="T48" fmla="*/ 37 w 366"/>
                <a:gd name="T49" fmla="*/ 24 h 409"/>
                <a:gd name="T50" fmla="*/ 9 w 366"/>
                <a:gd name="T51" fmla="*/ 28 h 409"/>
                <a:gd name="T52" fmla="*/ 6 w 366"/>
                <a:gd name="T53" fmla="*/ 65 h 409"/>
                <a:gd name="T54" fmla="*/ 0 w 366"/>
                <a:gd name="T55" fmla="*/ 71 h 409"/>
                <a:gd name="T56" fmla="*/ 15 w 366"/>
                <a:gd name="T57" fmla="*/ 117 h 409"/>
                <a:gd name="T58" fmla="*/ 37 w 366"/>
                <a:gd name="T59" fmla="*/ 121 h 409"/>
                <a:gd name="T60" fmla="*/ 76 w 366"/>
                <a:gd name="T61" fmla="*/ 160 h 409"/>
                <a:gd name="T62" fmla="*/ 76 w 366"/>
                <a:gd name="T63" fmla="*/ 160 h 409"/>
                <a:gd name="T64" fmla="*/ 76 w 366"/>
                <a:gd name="T65" fmla="*/ 191 h 409"/>
                <a:gd name="T66" fmla="*/ 59 w 366"/>
                <a:gd name="T67" fmla="*/ 210 h 409"/>
                <a:gd name="T68" fmla="*/ 72 w 366"/>
                <a:gd name="T69" fmla="*/ 227 h 409"/>
                <a:gd name="T70" fmla="*/ 91 w 366"/>
                <a:gd name="T71" fmla="*/ 221 h 409"/>
                <a:gd name="T72" fmla="*/ 91 w 366"/>
                <a:gd name="T73" fmla="*/ 253 h 409"/>
                <a:gd name="T74" fmla="*/ 124 w 366"/>
                <a:gd name="T75" fmla="*/ 273 h 409"/>
                <a:gd name="T76" fmla="*/ 126 w 366"/>
                <a:gd name="T77" fmla="*/ 275 h 409"/>
                <a:gd name="T78" fmla="*/ 126 w 366"/>
                <a:gd name="T79" fmla="*/ 325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6" h="409">
                  <a:moveTo>
                    <a:pt x="126" y="325"/>
                  </a:moveTo>
                  <a:lnTo>
                    <a:pt x="148" y="347"/>
                  </a:lnTo>
                  <a:lnTo>
                    <a:pt x="146" y="368"/>
                  </a:lnTo>
                  <a:lnTo>
                    <a:pt x="142" y="388"/>
                  </a:lnTo>
                  <a:lnTo>
                    <a:pt x="152" y="409"/>
                  </a:lnTo>
                  <a:lnTo>
                    <a:pt x="179" y="399"/>
                  </a:lnTo>
                  <a:lnTo>
                    <a:pt x="192" y="373"/>
                  </a:lnTo>
                  <a:lnTo>
                    <a:pt x="207" y="357"/>
                  </a:lnTo>
                  <a:lnTo>
                    <a:pt x="242" y="364"/>
                  </a:lnTo>
                  <a:lnTo>
                    <a:pt x="261" y="349"/>
                  </a:lnTo>
                  <a:lnTo>
                    <a:pt x="275" y="347"/>
                  </a:lnTo>
                  <a:lnTo>
                    <a:pt x="285" y="355"/>
                  </a:lnTo>
                  <a:lnTo>
                    <a:pt x="320" y="353"/>
                  </a:lnTo>
                  <a:lnTo>
                    <a:pt x="346" y="347"/>
                  </a:lnTo>
                  <a:lnTo>
                    <a:pt x="364" y="342"/>
                  </a:lnTo>
                  <a:lnTo>
                    <a:pt x="364" y="340"/>
                  </a:lnTo>
                  <a:lnTo>
                    <a:pt x="366" y="325"/>
                  </a:lnTo>
                  <a:lnTo>
                    <a:pt x="364" y="312"/>
                  </a:lnTo>
                  <a:lnTo>
                    <a:pt x="346" y="288"/>
                  </a:lnTo>
                  <a:lnTo>
                    <a:pt x="346" y="288"/>
                  </a:lnTo>
                  <a:lnTo>
                    <a:pt x="346" y="286"/>
                  </a:lnTo>
                  <a:lnTo>
                    <a:pt x="349" y="256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9" y="232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1"/>
                  </a:lnTo>
                  <a:lnTo>
                    <a:pt x="320" y="186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303" y="182"/>
                  </a:lnTo>
                  <a:lnTo>
                    <a:pt x="255" y="156"/>
                  </a:lnTo>
                  <a:lnTo>
                    <a:pt x="253" y="154"/>
                  </a:lnTo>
                  <a:lnTo>
                    <a:pt x="253" y="154"/>
                  </a:lnTo>
                  <a:lnTo>
                    <a:pt x="253" y="128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205" y="119"/>
                  </a:lnTo>
                  <a:lnTo>
                    <a:pt x="155" y="89"/>
                  </a:lnTo>
                  <a:lnTo>
                    <a:pt x="155" y="89"/>
                  </a:lnTo>
                  <a:lnTo>
                    <a:pt x="155" y="87"/>
                  </a:lnTo>
                  <a:lnTo>
                    <a:pt x="155" y="71"/>
                  </a:lnTo>
                  <a:lnTo>
                    <a:pt x="146" y="58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122" y="56"/>
                  </a:lnTo>
                  <a:lnTo>
                    <a:pt x="85" y="0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9" y="28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0" y="71"/>
                  </a:lnTo>
                  <a:lnTo>
                    <a:pt x="2" y="100"/>
                  </a:lnTo>
                  <a:lnTo>
                    <a:pt x="15" y="117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9" y="12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6" y="188"/>
                  </a:lnTo>
                  <a:lnTo>
                    <a:pt x="76" y="191"/>
                  </a:lnTo>
                  <a:lnTo>
                    <a:pt x="76" y="191"/>
                  </a:lnTo>
                  <a:lnTo>
                    <a:pt x="59" y="210"/>
                  </a:lnTo>
                  <a:lnTo>
                    <a:pt x="59" y="227"/>
                  </a:lnTo>
                  <a:lnTo>
                    <a:pt x="72" y="227"/>
                  </a:lnTo>
                  <a:lnTo>
                    <a:pt x="87" y="221"/>
                  </a:lnTo>
                  <a:lnTo>
                    <a:pt x="91" y="221"/>
                  </a:lnTo>
                  <a:lnTo>
                    <a:pt x="91" y="223"/>
                  </a:lnTo>
                  <a:lnTo>
                    <a:pt x="91" y="253"/>
                  </a:lnTo>
                  <a:lnTo>
                    <a:pt x="102" y="269"/>
                  </a:lnTo>
                  <a:lnTo>
                    <a:pt x="124" y="273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26" y="325"/>
                  </a:lnTo>
                  <a:lnTo>
                    <a:pt x="126" y="32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Freeform 213">
              <a:extLst>
                <a:ext uri="{FF2B5EF4-FFF2-40B4-BE49-F238E27FC236}">
                  <a16:creationId xmlns:a16="http://schemas.microsoft.com/office/drawing/2014/main" xmlns="" id="{C3B2C475-4481-4DBF-96A6-ACD46728E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1" y="2543"/>
              <a:ext cx="255" cy="214"/>
            </a:xfrm>
            <a:custGeom>
              <a:avLst/>
              <a:gdLst>
                <a:gd name="T0" fmla="*/ 0 w 255"/>
                <a:gd name="T1" fmla="*/ 60 h 214"/>
                <a:gd name="T2" fmla="*/ 0 w 255"/>
                <a:gd name="T3" fmla="*/ 75 h 214"/>
                <a:gd name="T4" fmla="*/ 6 w 255"/>
                <a:gd name="T5" fmla="*/ 104 h 214"/>
                <a:gd name="T6" fmla="*/ 28 w 255"/>
                <a:gd name="T7" fmla="*/ 127 h 214"/>
                <a:gd name="T8" fmla="*/ 28 w 255"/>
                <a:gd name="T9" fmla="*/ 130 h 214"/>
                <a:gd name="T10" fmla="*/ 28 w 255"/>
                <a:gd name="T11" fmla="*/ 130 h 214"/>
                <a:gd name="T12" fmla="*/ 26 w 255"/>
                <a:gd name="T13" fmla="*/ 160 h 214"/>
                <a:gd name="T14" fmla="*/ 41 w 255"/>
                <a:gd name="T15" fmla="*/ 184 h 214"/>
                <a:gd name="T16" fmla="*/ 43 w 255"/>
                <a:gd name="T17" fmla="*/ 186 h 214"/>
                <a:gd name="T18" fmla="*/ 43 w 255"/>
                <a:gd name="T19" fmla="*/ 186 h 214"/>
                <a:gd name="T20" fmla="*/ 45 w 255"/>
                <a:gd name="T21" fmla="*/ 199 h 214"/>
                <a:gd name="T22" fmla="*/ 45 w 255"/>
                <a:gd name="T23" fmla="*/ 199 h 214"/>
                <a:gd name="T24" fmla="*/ 45 w 255"/>
                <a:gd name="T25" fmla="*/ 199 h 214"/>
                <a:gd name="T26" fmla="*/ 43 w 255"/>
                <a:gd name="T27" fmla="*/ 214 h 214"/>
                <a:gd name="T28" fmla="*/ 91 w 255"/>
                <a:gd name="T29" fmla="*/ 210 h 214"/>
                <a:gd name="T30" fmla="*/ 126 w 255"/>
                <a:gd name="T31" fmla="*/ 179 h 214"/>
                <a:gd name="T32" fmla="*/ 126 w 255"/>
                <a:gd name="T33" fmla="*/ 179 h 214"/>
                <a:gd name="T34" fmla="*/ 126 w 255"/>
                <a:gd name="T35" fmla="*/ 179 h 214"/>
                <a:gd name="T36" fmla="*/ 143 w 255"/>
                <a:gd name="T37" fmla="*/ 177 h 214"/>
                <a:gd name="T38" fmla="*/ 176 w 255"/>
                <a:gd name="T39" fmla="*/ 166 h 214"/>
                <a:gd name="T40" fmla="*/ 187 w 255"/>
                <a:gd name="T41" fmla="*/ 145 h 214"/>
                <a:gd name="T42" fmla="*/ 187 w 255"/>
                <a:gd name="T43" fmla="*/ 145 h 214"/>
                <a:gd name="T44" fmla="*/ 189 w 255"/>
                <a:gd name="T45" fmla="*/ 145 h 214"/>
                <a:gd name="T46" fmla="*/ 237 w 255"/>
                <a:gd name="T47" fmla="*/ 117 h 214"/>
                <a:gd name="T48" fmla="*/ 244 w 255"/>
                <a:gd name="T49" fmla="*/ 106 h 214"/>
                <a:gd name="T50" fmla="*/ 252 w 255"/>
                <a:gd name="T51" fmla="*/ 78 h 214"/>
                <a:gd name="T52" fmla="*/ 255 w 255"/>
                <a:gd name="T53" fmla="*/ 67 h 214"/>
                <a:gd name="T54" fmla="*/ 231 w 255"/>
                <a:gd name="T55" fmla="*/ 32 h 214"/>
                <a:gd name="T56" fmla="*/ 220 w 255"/>
                <a:gd name="T57" fmla="*/ 21 h 214"/>
                <a:gd name="T58" fmla="*/ 209 w 255"/>
                <a:gd name="T59" fmla="*/ 30 h 214"/>
                <a:gd name="T60" fmla="*/ 209 w 255"/>
                <a:gd name="T61" fmla="*/ 30 h 214"/>
                <a:gd name="T62" fmla="*/ 209 w 255"/>
                <a:gd name="T63" fmla="*/ 30 h 214"/>
                <a:gd name="T64" fmla="*/ 198 w 255"/>
                <a:gd name="T65" fmla="*/ 32 h 214"/>
                <a:gd name="T66" fmla="*/ 198 w 255"/>
                <a:gd name="T67" fmla="*/ 32 h 214"/>
                <a:gd name="T68" fmla="*/ 196 w 255"/>
                <a:gd name="T69" fmla="*/ 30 h 214"/>
                <a:gd name="T70" fmla="*/ 176 w 255"/>
                <a:gd name="T71" fmla="*/ 4 h 214"/>
                <a:gd name="T72" fmla="*/ 172 w 255"/>
                <a:gd name="T73" fmla="*/ 8 h 214"/>
                <a:gd name="T74" fmla="*/ 146 w 255"/>
                <a:gd name="T75" fmla="*/ 32 h 214"/>
                <a:gd name="T76" fmla="*/ 146 w 255"/>
                <a:gd name="T77" fmla="*/ 34 h 214"/>
                <a:gd name="T78" fmla="*/ 146 w 255"/>
                <a:gd name="T79" fmla="*/ 34 h 214"/>
                <a:gd name="T80" fmla="*/ 130 w 255"/>
                <a:gd name="T81" fmla="*/ 43 h 214"/>
                <a:gd name="T82" fmla="*/ 130 w 255"/>
                <a:gd name="T83" fmla="*/ 43 h 214"/>
                <a:gd name="T84" fmla="*/ 130 w 255"/>
                <a:gd name="T85" fmla="*/ 43 h 214"/>
                <a:gd name="T86" fmla="*/ 111 w 255"/>
                <a:gd name="T87" fmla="*/ 39 h 214"/>
                <a:gd name="T88" fmla="*/ 111 w 255"/>
                <a:gd name="T89" fmla="*/ 36 h 214"/>
                <a:gd name="T90" fmla="*/ 111 w 255"/>
                <a:gd name="T91" fmla="*/ 36 h 214"/>
                <a:gd name="T92" fmla="*/ 82 w 255"/>
                <a:gd name="T93" fmla="*/ 13 h 214"/>
                <a:gd name="T94" fmla="*/ 63 w 255"/>
                <a:gd name="T95" fmla="*/ 0 h 214"/>
                <a:gd name="T96" fmla="*/ 45 w 255"/>
                <a:gd name="T97" fmla="*/ 0 h 214"/>
                <a:gd name="T98" fmla="*/ 17 w 255"/>
                <a:gd name="T99" fmla="*/ 4 h 214"/>
                <a:gd name="T100" fmla="*/ 6 w 255"/>
                <a:gd name="T101" fmla="*/ 21 h 214"/>
                <a:gd name="T102" fmla="*/ 6 w 255"/>
                <a:gd name="T103" fmla="*/ 28 h 214"/>
                <a:gd name="T104" fmla="*/ 15 w 255"/>
                <a:gd name="T105" fmla="*/ 32 h 214"/>
                <a:gd name="T106" fmla="*/ 15 w 255"/>
                <a:gd name="T107" fmla="*/ 32 h 214"/>
                <a:gd name="T108" fmla="*/ 15 w 255"/>
                <a:gd name="T109" fmla="*/ 34 h 214"/>
                <a:gd name="T110" fmla="*/ 13 w 255"/>
                <a:gd name="T111" fmla="*/ 54 h 214"/>
                <a:gd name="T112" fmla="*/ 13 w 255"/>
                <a:gd name="T113" fmla="*/ 54 h 214"/>
                <a:gd name="T114" fmla="*/ 11 w 255"/>
                <a:gd name="T115" fmla="*/ 56 h 214"/>
                <a:gd name="T116" fmla="*/ 0 w 255"/>
                <a:gd name="T117" fmla="*/ 60 h 214"/>
                <a:gd name="T118" fmla="*/ 0 w 255"/>
                <a:gd name="T119" fmla="*/ 6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5" h="214">
                  <a:moveTo>
                    <a:pt x="0" y="60"/>
                  </a:moveTo>
                  <a:lnTo>
                    <a:pt x="0" y="75"/>
                  </a:lnTo>
                  <a:lnTo>
                    <a:pt x="6" y="104"/>
                  </a:lnTo>
                  <a:lnTo>
                    <a:pt x="28" y="127"/>
                  </a:lnTo>
                  <a:lnTo>
                    <a:pt x="28" y="130"/>
                  </a:lnTo>
                  <a:lnTo>
                    <a:pt x="28" y="130"/>
                  </a:lnTo>
                  <a:lnTo>
                    <a:pt x="26" y="160"/>
                  </a:lnTo>
                  <a:lnTo>
                    <a:pt x="41" y="184"/>
                  </a:lnTo>
                  <a:lnTo>
                    <a:pt x="43" y="186"/>
                  </a:lnTo>
                  <a:lnTo>
                    <a:pt x="43" y="186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5" y="199"/>
                  </a:lnTo>
                  <a:lnTo>
                    <a:pt x="43" y="214"/>
                  </a:lnTo>
                  <a:lnTo>
                    <a:pt x="91" y="210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43" y="177"/>
                  </a:lnTo>
                  <a:lnTo>
                    <a:pt x="176" y="166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9" y="145"/>
                  </a:lnTo>
                  <a:lnTo>
                    <a:pt x="237" y="117"/>
                  </a:lnTo>
                  <a:lnTo>
                    <a:pt x="244" y="106"/>
                  </a:lnTo>
                  <a:lnTo>
                    <a:pt x="252" y="78"/>
                  </a:lnTo>
                  <a:lnTo>
                    <a:pt x="255" y="67"/>
                  </a:lnTo>
                  <a:lnTo>
                    <a:pt x="231" y="32"/>
                  </a:lnTo>
                  <a:lnTo>
                    <a:pt x="220" y="21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209" y="30"/>
                  </a:lnTo>
                  <a:lnTo>
                    <a:pt x="198" y="32"/>
                  </a:lnTo>
                  <a:lnTo>
                    <a:pt x="198" y="32"/>
                  </a:lnTo>
                  <a:lnTo>
                    <a:pt x="196" y="30"/>
                  </a:lnTo>
                  <a:lnTo>
                    <a:pt x="176" y="4"/>
                  </a:lnTo>
                  <a:lnTo>
                    <a:pt x="172" y="8"/>
                  </a:lnTo>
                  <a:lnTo>
                    <a:pt x="146" y="32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11" y="39"/>
                  </a:lnTo>
                  <a:lnTo>
                    <a:pt x="111" y="36"/>
                  </a:lnTo>
                  <a:lnTo>
                    <a:pt x="111" y="36"/>
                  </a:lnTo>
                  <a:lnTo>
                    <a:pt x="82" y="13"/>
                  </a:lnTo>
                  <a:lnTo>
                    <a:pt x="63" y="0"/>
                  </a:lnTo>
                  <a:lnTo>
                    <a:pt x="45" y="0"/>
                  </a:lnTo>
                  <a:lnTo>
                    <a:pt x="17" y="4"/>
                  </a:lnTo>
                  <a:lnTo>
                    <a:pt x="6" y="21"/>
                  </a:lnTo>
                  <a:lnTo>
                    <a:pt x="6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1" y="56"/>
                  </a:lnTo>
                  <a:lnTo>
                    <a:pt x="0" y="60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Freeform 214">
              <a:extLst>
                <a:ext uri="{FF2B5EF4-FFF2-40B4-BE49-F238E27FC236}">
                  <a16:creationId xmlns:a16="http://schemas.microsoft.com/office/drawing/2014/main" xmlns="" id="{F4157978-4F10-4039-8F5C-B04DCCB21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3" y="2395"/>
              <a:ext cx="242" cy="204"/>
            </a:xfrm>
            <a:custGeom>
              <a:avLst/>
              <a:gdLst>
                <a:gd name="T0" fmla="*/ 0 w 242"/>
                <a:gd name="T1" fmla="*/ 174 h 204"/>
                <a:gd name="T2" fmla="*/ 65 w 242"/>
                <a:gd name="T3" fmla="*/ 204 h 204"/>
                <a:gd name="T4" fmla="*/ 79 w 242"/>
                <a:gd name="T5" fmla="*/ 184 h 204"/>
                <a:gd name="T6" fmla="*/ 70 w 242"/>
                <a:gd name="T7" fmla="*/ 178 h 204"/>
                <a:gd name="T8" fmla="*/ 70 w 242"/>
                <a:gd name="T9" fmla="*/ 167 h 204"/>
                <a:gd name="T10" fmla="*/ 70 w 242"/>
                <a:gd name="T11" fmla="*/ 167 h 204"/>
                <a:gd name="T12" fmla="*/ 83 w 242"/>
                <a:gd name="T13" fmla="*/ 148 h 204"/>
                <a:gd name="T14" fmla="*/ 113 w 242"/>
                <a:gd name="T15" fmla="*/ 145 h 204"/>
                <a:gd name="T16" fmla="*/ 133 w 242"/>
                <a:gd name="T17" fmla="*/ 143 h 204"/>
                <a:gd name="T18" fmla="*/ 133 w 242"/>
                <a:gd name="T19" fmla="*/ 143 h 204"/>
                <a:gd name="T20" fmla="*/ 153 w 242"/>
                <a:gd name="T21" fmla="*/ 156 h 204"/>
                <a:gd name="T22" fmla="*/ 181 w 242"/>
                <a:gd name="T23" fmla="*/ 182 h 204"/>
                <a:gd name="T24" fmla="*/ 211 w 242"/>
                <a:gd name="T25" fmla="*/ 178 h 204"/>
                <a:gd name="T26" fmla="*/ 235 w 242"/>
                <a:gd name="T27" fmla="*/ 152 h 204"/>
                <a:gd name="T28" fmla="*/ 242 w 242"/>
                <a:gd name="T29" fmla="*/ 148 h 204"/>
                <a:gd name="T30" fmla="*/ 222 w 242"/>
                <a:gd name="T31" fmla="*/ 124 h 204"/>
                <a:gd name="T32" fmla="*/ 231 w 242"/>
                <a:gd name="T33" fmla="*/ 113 h 204"/>
                <a:gd name="T34" fmla="*/ 194 w 242"/>
                <a:gd name="T35" fmla="*/ 91 h 204"/>
                <a:gd name="T36" fmla="*/ 192 w 242"/>
                <a:gd name="T37" fmla="*/ 91 h 204"/>
                <a:gd name="T38" fmla="*/ 144 w 242"/>
                <a:gd name="T39" fmla="*/ 61 h 204"/>
                <a:gd name="T40" fmla="*/ 142 w 242"/>
                <a:gd name="T41" fmla="*/ 59 h 204"/>
                <a:gd name="T42" fmla="*/ 105 w 242"/>
                <a:gd name="T43" fmla="*/ 0 h 204"/>
                <a:gd name="T44" fmla="*/ 96 w 242"/>
                <a:gd name="T45" fmla="*/ 31 h 204"/>
                <a:gd name="T46" fmla="*/ 96 w 242"/>
                <a:gd name="T47" fmla="*/ 33 h 204"/>
                <a:gd name="T48" fmla="*/ 87 w 242"/>
                <a:gd name="T49" fmla="*/ 44 h 204"/>
                <a:gd name="T50" fmla="*/ 41 w 242"/>
                <a:gd name="T51" fmla="*/ 26 h 204"/>
                <a:gd name="T52" fmla="*/ 41 w 242"/>
                <a:gd name="T53" fmla="*/ 74 h 204"/>
                <a:gd name="T54" fmla="*/ 33 w 242"/>
                <a:gd name="T55" fmla="*/ 85 h 204"/>
                <a:gd name="T56" fmla="*/ 41 w 242"/>
                <a:gd name="T57" fmla="*/ 102 h 204"/>
                <a:gd name="T58" fmla="*/ 37 w 242"/>
                <a:gd name="T59" fmla="*/ 113 h 204"/>
                <a:gd name="T60" fmla="*/ 37 w 242"/>
                <a:gd name="T61" fmla="*/ 115 h 204"/>
                <a:gd name="T62" fmla="*/ 0 w 242"/>
                <a:gd name="T63" fmla="*/ 14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2" h="204">
                  <a:moveTo>
                    <a:pt x="0" y="148"/>
                  </a:moveTo>
                  <a:lnTo>
                    <a:pt x="0" y="174"/>
                  </a:lnTo>
                  <a:lnTo>
                    <a:pt x="48" y="200"/>
                  </a:lnTo>
                  <a:lnTo>
                    <a:pt x="65" y="204"/>
                  </a:lnTo>
                  <a:lnTo>
                    <a:pt x="76" y="200"/>
                  </a:lnTo>
                  <a:lnTo>
                    <a:pt x="79" y="184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78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70" y="167"/>
                  </a:lnTo>
                  <a:lnTo>
                    <a:pt x="83" y="150"/>
                  </a:lnTo>
                  <a:lnTo>
                    <a:pt x="83" y="148"/>
                  </a:lnTo>
                  <a:lnTo>
                    <a:pt x="83" y="148"/>
                  </a:lnTo>
                  <a:lnTo>
                    <a:pt x="113" y="145"/>
                  </a:lnTo>
                  <a:lnTo>
                    <a:pt x="113" y="145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33" y="143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53" y="156"/>
                  </a:lnTo>
                  <a:lnTo>
                    <a:pt x="181" y="182"/>
                  </a:lnTo>
                  <a:lnTo>
                    <a:pt x="198" y="187"/>
                  </a:lnTo>
                  <a:lnTo>
                    <a:pt x="211" y="178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35" y="152"/>
                  </a:lnTo>
                  <a:lnTo>
                    <a:pt x="242" y="148"/>
                  </a:lnTo>
                  <a:lnTo>
                    <a:pt x="225" y="126"/>
                  </a:lnTo>
                  <a:lnTo>
                    <a:pt x="222" y="124"/>
                  </a:lnTo>
                  <a:lnTo>
                    <a:pt x="225" y="122"/>
                  </a:lnTo>
                  <a:lnTo>
                    <a:pt x="231" y="113"/>
                  </a:lnTo>
                  <a:lnTo>
                    <a:pt x="231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92" y="91"/>
                  </a:lnTo>
                  <a:lnTo>
                    <a:pt x="170" y="61"/>
                  </a:lnTo>
                  <a:lnTo>
                    <a:pt x="144" y="61"/>
                  </a:lnTo>
                  <a:lnTo>
                    <a:pt x="144" y="59"/>
                  </a:lnTo>
                  <a:lnTo>
                    <a:pt x="142" y="59"/>
                  </a:lnTo>
                  <a:lnTo>
                    <a:pt x="133" y="35"/>
                  </a:lnTo>
                  <a:lnTo>
                    <a:pt x="105" y="0"/>
                  </a:lnTo>
                  <a:lnTo>
                    <a:pt x="100" y="5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89" y="41"/>
                  </a:lnTo>
                  <a:lnTo>
                    <a:pt x="87" y="44"/>
                  </a:lnTo>
                  <a:lnTo>
                    <a:pt x="85" y="41"/>
                  </a:lnTo>
                  <a:lnTo>
                    <a:pt x="41" y="26"/>
                  </a:lnTo>
                  <a:lnTo>
                    <a:pt x="41" y="72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33" y="85"/>
                  </a:lnTo>
                  <a:lnTo>
                    <a:pt x="41" y="100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37" y="113"/>
                  </a:lnTo>
                  <a:lnTo>
                    <a:pt x="37" y="113"/>
                  </a:lnTo>
                  <a:lnTo>
                    <a:pt x="37" y="115"/>
                  </a:lnTo>
                  <a:lnTo>
                    <a:pt x="0" y="148"/>
                  </a:lnTo>
                  <a:lnTo>
                    <a:pt x="0" y="1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Freeform 215">
              <a:extLst>
                <a:ext uri="{FF2B5EF4-FFF2-40B4-BE49-F238E27FC236}">
                  <a16:creationId xmlns:a16="http://schemas.microsoft.com/office/drawing/2014/main" xmlns="" id="{2B76AF29-0BCD-4FA4-B20A-C9C7D6C80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5" y="2293"/>
              <a:ext cx="205" cy="247"/>
            </a:xfrm>
            <a:custGeom>
              <a:avLst/>
              <a:gdLst>
                <a:gd name="T0" fmla="*/ 72 w 205"/>
                <a:gd name="T1" fmla="*/ 5 h 247"/>
                <a:gd name="T2" fmla="*/ 59 w 205"/>
                <a:gd name="T3" fmla="*/ 5 h 247"/>
                <a:gd name="T4" fmla="*/ 59 w 205"/>
                <a:gd name="T5" fmla="*/ 5 h 247"/>
                <a:gd name="T6" fmla="*/ 59 w 205"/>
                <a:gd name="T7" fmla="*/ 5 h 247"/>
                <a:gd name="T8" fmla="*/ 44 w 205"/>
                <a:gd name="T9" fmla="*/ 0 h 247"/>
                <a:gd name="T10" fmla="*/ 20 w 205"/>
                <a:gd name="T11" fmla="*/ 29 h 247"/>
                <a:gd name="T12" fmla="*/ 16 w 205"/>
                <a:gd name="T13" fmla="*/ 59 h 247"/>
                <a:gd name="T14" fmla="*/ 13 w 205"/>
                <a:gd name="T15" fmla="*/ 107 h 247"/>
                <a:gd name="T16" fmla="*/ 13 w 205"/>
                <a:gd name="T17" fmla="*/ 107 h 247"/>
                <a:gd name="T18" fmla="*/ 13 w 205"/>
                <a:gd name="T19" fmla="*/ 109 h 247"/>
                <a:gd name="T20" fmla="*/ 7 w 205"/>
                <a:gd name="T21" fmla="*/ 117 h 247"/>
                <a:gd name="T22" fmla="*/ 7 w 205"/>
                <a:gd name="T23" fmla="*/ 120 h 247"/>
                <a:gd name="T24" fmla="*/ 5 w 205"/>
                <a:gd name="T25" fmla="*/ 120 h 247"/>
                <a:gd name="T26" fmla="*/ 0 w 205"/>
                <a:gd name="T27" fmla="*/ 122 h 247"/>
                <a:gd name="T28" fmla="*/ 35 w 205"/>
                <a:gd name="T29" fmla="*/ 176 h 247"/>
                <a:gd name="T30" fmla="*/ 59 w 205"/>
                <a:gd name="T31" fmla="*/ 178 h 247"/>
                <a:gd name="T32" fmla="*/ 61 w 205"/>
                <a:gd name="T33" fmla="*/ 178 h 247"/>
                <a:gd name="T34" fmla="*/ 61 w 205"/>
                <a:gd name="T35" fmla="*/ 180 h 247"/>
                <a:gd name="T36" fmla="*/ 68 w 205"/>
                <a:gd name="T37" fmla="*/ 193 h 247"/>
                <a:gd name="T38" fmla="*/ 70 w 205"/>
                <a:gd name="T39" fmla="*/ 193 h 247"/>
                <a:gd name="T40" fmla="*/ 70 w 205"/>
                <a:gd name="T41" fmla="*/ 195 h 247"/>
                <a:gd name="T42" fmla="*/ 70 w 205"/>
                <a:gd name="T43" fmla="*/ 211 h 247"/>
                <a:gd name="T44" fmla="*/ 118 w 205"/>
                <a:gd name="T45" fmla="*/ 239 h 247"/>
                <a:gd name="T46" fmla="*/ 166 w 205"/>
                <a:gd name="T47" fmla="*/ 247 h 247"/>
                <a:gd name="T48" fmla="*/ 201 w 205"/>
                <a:gd name="T49" fmla="*/ 213 h 247"/>
                <a:gd name="T50" fmla="*/ 205 w 205"/>
                <a:gd name="T51" fmla="*/ 204 h 247"/>
                <a:gd name="T52" fmla="*/ 196 w 205"/>
                <a:gd name="T53" fmla="*/ 187 h 247"/>
                <a:gd name="T54" fmla="*/ 194 w 205"/>
                <a:gd name="T55" fmla="*/ 187 h 247"/>
                <a:gd name="T56" fmla="*/ 196 w 205"/>
                <a:gd name="T57" fmla="*/ 185 h 247"/>
                <a:gd name="T58" fmla="*/ 205 w 205"/>
                <a:gd name="T59" fmla="*/ 174 h 247"/>
                <a:gd name="T60" fmla="*/ 205 w 205"/>
                <a:gd name="T61" fmla="*/ 128 h 247"/>
                <a:gd name="T62" fmla="*/ 188 w 205"/>
                <a:gd name="T63" fmla="*/ 126 h 247"/>
                <a:gd name="T64" fmla="*/ 188 w 205"/>
                <a:gd name="T65" fmla="*/ 126 h 247"/>
                <a:gd name="T66" fmla="*/ 188 w 205"/>
                <a:gd name="T67" fmla="*/ 126 h 247"/>
                <a:gd name="T68" fmla="*/ 175 w 205"/>
                <a:gd name="T69" fmla="*/ 100 h 247"/>
                <a:gd name="T70" fmla="*/ 148 w 205"/>
                <a:gd name="T71" fmla="*/ 96 h 247"/>
                <a:gd name="T72" fmla="*/ 140 w 205"/>
                <a:gd name="T73" fmla="*/ 102 h 247"/>
                <a:gd name="T74" fmla="*/ 138 w 205"/>
                <a:gd name="T75" fmla="*/ 104 h 247"/>
                <a:gd name="T76" fmla="*/ 135 w 205"/>
                <a:gd name="T77" fmla="*/ 102 h 247"/>
                <a:gd name="T78" fmla="*/ 118 w 205"/>
                <a:gd name="T79" fmla="*/ 74 h 247"/>
                <a:gd name="T80" fmla="*/ 118 w 205"/>
                <a:gd name="T81" fmla="*/ 74 h 247"/>
                <a:gd name="T82" fmla="*/ 118 w 205"/>
                <a:gd name="T83" fmla="*/ 74 h 247"/>
                <a:gd name="T84" fmla="*/ 116 w 205"/>
                <a:gd name="T85" fmla="*/ 42 h 247"/>
                <a:gd name="T86" fmla="*/ 87 w 205"/>
                <a:gd name="T87" fmla="*/ 42 h 247"/>
                <a:gd name="T88" fmla="*/ 85 w 205"/>
                <a:gd name="T89" fmla="*/ 42 h 247"/>
                <a:gd name="T90" fmla="*/ 85 w 205"/>
                <a:gd name="T91" fmla="*/ 42 h 247"/>
                <a:gd name="T92" fmla="*/ 72 w 205"/>
                <a:gd name="T93" fmla="*/ 5 h 247"/>
                <a:gd name="T94" fmla="*/ 72 w 205"/>
                <a:gd name="T95" fmla="*/ 5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5" h="247">
                  <a:moveTo>
                    <a:pt x="72" y="5"/>
                  </a:move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44" y="0"/>
                  </a:lnTo>
                  <a:lnTo>
                    <a:pt x="20" y="29"/>
                  </a:lnTo>
                  <a:lnTo>
                    <a:pt x="16" y="59"/>
                  </a:lnTo>
                  <a:lnTo>
                    <a:pt x="13" y="107"/>
                  </a:lnTo>
                  <a:lnTo>
                    <a:pt x="13" y="107"/>
                  </a:lnTo>
                  <a:lnTo>
                    <a:pt x="13" y="109"/>
                  </a:lnTo>
                  <a:lnTo>
                    <a:pt x="7" y="117"/>
                  </a:lnTo>
                  <a:lnTo>
                    <a:pt x="7" y="120"/>
                  </a:lnTo>
                  <a:lnTo>
                    <a:pt x="5" y="120"/>
                  </a:lnTo>
                  <a:lnTo>
                    <a:pt x="0" y="122"/>
                  </a:lnTo>
                  <a:lnTo>
                    <a:pt x="35" y="176"/>
                  </a:lnTo>
                  <a:lnTo>
                    <a:pt x="59" y="178"/>
                  </a:lnTo>
                  <a:lnTo>
                    <a:pt x="61" y="178"/>
                  </a:lnTo>
                  <a:lnTo>
                    <a:pt x="61" y="180"/>
                  </a:lnTo>
                  <a:lnTo>
                    <a:pt x="68" y="193"/>
                  </a:lnTo>
                  <a:lnTo>
                    <a:pt x="70" y="193"/>
                  </a:lnTo>
                  <a:lnTo>
                    <a:pt x="70" y="195"/>
                  </a:lnTo>
                  <a:lnTo>
                    <a:pt x="70" y="211"/>
                  </a:lnTo>
                  <a:lnTo>
                    <a:pt x="118" y="239"/>
                  </a:lnTo>
                  <a:lnTo>
                    <a:pt x="166" y="247"/>
                  </a:lnTo>
                  <a:lnTo>
                    <a:pt x="201" y="213"/>
                  </a:lnTo>
                  <a:lnTo>
                    <a:pt x="205" y="204"/>
                  </a:lnTo>
                  <a:lnTo>
                    <a:pt x="196" y="187"/>
                  </a:lnTo>
                  <a:lnTo>
                    <a:pt x="194" y="187"/>
                  </a:lnTo>
                  <a:lnTo>
                    <a:pt x="196" y="185"/>
                  </a:lnTo>
                  <a:lnTo>
                    <a:pt x="205" y="174"/>
                  </a:lnTo>
                  <a:lnTo>
                    <a:pt x="205" y="128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75" y="100"/>
                  </a:lnTo>
                  <a:lnTo>
                    <a:pt x="148" y="96"/>
                  </a:lnTo>
                  <a:lnTo>
                    <a:pt x="140" y="102"/>
                  </a:lnTo>
                  <a:lnTo>
                    <a:pt x="138" y="104"/>
                  </a:lnTo>
                  <a:lnTo>
                    <a:pt x="135" y="102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6" y="42"/>
                  </a:lnTo>
                  <a:lnTo>
                    <a:pt x="87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72" y="5"/>
                  </a:lnTo>
                  <a:lnTo>
                    <a:pt x="72" y="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216">
              <a:extLst>
                <a:ext uri="{FF2B5EF4-FFF2-40B4-BE49-F238E27FC236}">
                  <a16:creationId xmlns:a16="http://schemas.microsoft.com/office/drawing/2014/main" xmlns="" id="{2E37AFFC-2342-4BC2-B517-51903DA05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2" y="2241"/>
              <a:ext cx="204" cy="191"/>
            </a:xfrm>
            <a:custGeom>
              <a:avLst/>
              <a:gdLst>
                <a:gd name="T0" fmla="*/ 65 w 204"/>
                <a:gd name="T1" fmla="*/ 0 h 191"/>
                <a:gd name="T2" fmla="*/ 43 w 204"/>
                <a:gd name="T3" fmla="*/ 18 h 191"/>
                <a:gd name="T4" fmla="*/ 0 w 204"/>
                <a:gd name="T5" fmla="*/ 55 h 191"/>
                <a:gd name="T6" fmla="*/ 13 w 204"/>
                <a:gd name="T7" fmla="*/ 91 h 191"/>
                <a:gd name="T8" fmla="*/ 41 w 204"/>
                <a:gd name="T9" fmla="*/ 91 h 191"/>
                <a:gd name="T10" fmla="*/ 43 w 204"/>
                <a:gd name="T11" fmla="*/ 91 h 191"/>
                <a:gd name="T12" fmla="*/ 43 w 204"/>
                <a:gd name="T13" fmla="*/ 91 h 191"/>
                <a:gd name="T14" fmla="*/ 45 w 204"/>
                <a:gd name="T15" fmla="*/ 124 h 191"/>
                <a:gd name="T16" fmla="*/ 61 w 204"/>
                <a:gd name="T17" fmla="*/ 150 h 191"/>
                <a:gd name="T18" fmla="*/ 69 w 204"/>
                <a:gd name="T19" fmla="*/ 143 h 191"/>
                <a:gd name="T20" fmla="*/ 69 w 204"/>
                <a:gd name="T21" fmla="*/ 143 h 191"/>
                <a:gd name="T22" fmla="*/ 71 w 204"/>
                <a:gd name="T23" fmla="*/ 143 h 191"/>
                <a:gd name="T24" fmla="*/ 100 w 204"/>
                <a:gd name="T25" fmla="*/ 148 h 191"/>
                <a:gd name="T26" fmla="*/ 102 w 204"/>
                <a:gd name="T27" fmla="*/ 148 h 191"/>
                <a:gd name="T28" fmla="*/ 102 w 204"/>
                <a:gd name="T29" fmla="*/ 150 h 191"/>
                <a:gd name="T30" fmla="*/ 113 w 204"/>
                <a:gd name="T31" fmla="*/ 174 h 191"/>
                <a:gd name="T32" fmla="*/ 128 w 204"/>
                <a:gd name="T33" fmla="*/ 176 h 191"/>
                <a:gd name="T34" fmla="*/ 128 w 204"/>
                <a:gd name="T35" fmla="*/ 176 h 191"/>
                <a:gd name="T36" fmla="*/ 132 w 204"/>
                <a:gd name="T37" fmla="*/ 176 h 191"/>
                <a:gd name="T38" fmla="*/ 176 w 204"/>
                <a:gd name="T39" fmla="*/ 191 h 191"/>
                <a:gd name="T40" fmla="*/ 183 w 204"/>
                <a:gd name="T41" fmla="*/ 185 h 191"/>
                <a:gd name="T42" fmla="*/ 187 w 204"/>
                <a:gd name="T43" fmla="*/ 159 h 191"/>
                <a:gd name="T44" fmla="*/ 187 w 204"/>
                <a:gd name="T45" fmla="*/ 159 h 191"/>
                <a:gd name="T46" fmla="*/ 187 w 204"/>
                <a:gd name="T47" fmla="*/ 156 h 191"/>
                <a:gd name="T48" fmla="*/ 193 w 204"/>
                <a:gd name="T49" fmla="*/ 150 h 191"/>
                <a:gd name="T50" fmla="*/ 202 w 204"/>
                <a:gd name="T51" fmla="*/ 135 h 191"/>
                <a:gd name="T52" fmla="*/ 204 w 204"/>
                <a:gd name="T53" fmla="*/ 124 h 191"/>
                <a:gd name="T54" fmla="*/ 191 w 204"/>
                <a:gd name="T55" fmla="*/ 117 h 191"/>
                <a:gd name="T56" fmla="*/ 189 w 204"/>
                <a:gd name="T57" fmla="*/ 115 h 191"/>
                <a:gd name="T58" fmla="*/ 189 w 204"/>
                <a:gd name="T59" fmla="*/ 115 h 191"/>
                <a:gd name="T60" fmla="*/ 189 w 204"/>
                <a:gd name="T61" fmla="*/ 102 h 191"/>
                <a:gd name="T62" fmla="*/ 180 w 204"/>
                <a:gd name="T63" fmla="*/ 98 h 191"/>
                <a:gd name="T64" fmla="*/ 176 w 204"/>
                <a:gd name="T65" fmla="*/ 104 h 191"/>
                <a:gd name="T66" fmla="*/ 176 w 204"/>
                <a:gd name="T67" fmla="*/ 104 h 191"/>
                <a:gd name="T68" fmla="*/ 174 w 204"/>
                <a:gd name="T69" fmla="*/ 104 h 191"/>
                <a:gd name="T70" fmla="*/ 143 w 204"/>
                <a:gd name="T71" fmla="*/ 107 h 191"/>
                <a:gd name="T72" fmla="*/ 141 w 204"/>
                <a:gd name="T73" fmla="*/ 115 h 191"/>
                <a:gd name="T74" fmla="*/ 139 w 204"/>
                <a:gd name="T75" fmla="*/ 115 h 191"/>
                <a:gd name="T76" fmla="*/ 139 w 204"/>
                <a:gd name="T77" fmla="*/ 115 h 191"/>
                <a:gd name="T78" fmla="*/ 122 w 204"/>
                <a:gd name="T79" fmla="*/ 113 h 191"/>
                <a:gd name="T80" fmla="*/ 122 w 204"/>
                <a:gd name="T81" fmla="*/ 113 h 191"/>
                <a:gd name="T82" fmla="*/ 122 w 204"/>
                <a:gd name="T83" fmla="*/ 113 h 191"/>
                <a:gd name="T84" fmla="*/ 104 w 204"/>
                <a:gd name="T85" fmla="*/ 83 h 191"/>
                <a:gd name="T86" fmla="*/ 104 w 204"/>
                <a:gd name="T87" fmla="*/ 81 h 191"/>
                <a:gd name="T88" fmla="*/ 104 w 204"/>
                <a:gd name="T89" fmla="*/ 81 h 191"/>
                <a:gd name="T90" fmla="*/ 100 w 204"/>
                <a:gd name="T91" fmla="*/ 37 h 191"/>
                <a:gd name="T92" fmla="*/ 65 w 204"/>
                <a:gd name="T93" fmla="*/ 0 h 191"/>
                <a:gd name="T94" fmla="*/ 65 w 204"/>
                <a:gd name="T95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04" h="191">
                  <a:moveTo>
                    <a:pt x="65" y="0"/>
                  </a:moveTo>
                  <a:lnTo>
                    <a:pt x="43" y="18"/>
                  </a:lnTo>
                  <a:lnTo>
                    <a:pt x="0" y="55"/>
                  </a:lnTo>
                  <a:lnTo>
                    <a:pt x="13" y="91"/>
                  </a:lnTo>
                  <a:lnTo>
                    <a:pt x="41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5" y="124"/>
                  </a:lnTo>
                  <a:lnTo>
                    <a:pt x="61" y="150"/>
                  </a:lnTo>
                  <a:lnTo>
                    <a:pt x="69" y="143"/>
                  </a:lnTo>
                  <a:lnTo>
                    <a:pt x="69" y="143"/>
                  </a:lnTo>
                  <a:lnTo>
                    <a:pt x="71" y="143"/>
                  </a:lnTo>
                  <a:lnTo>
                    <a:pt x="100" y="148"/>
                  </a:lnTo>
                  <a:lnTo>
                    <a:pt x="102" y="148"/>
                  </a:lnTo>
                  <a:lnTo>
                    <a:pt x="102" y="150"/>
                  </a:lnTo>
                  <a:lnTo>
                    <a:pt x="113" y="174"/>
                  </a:lnTo>
                  <a:lnTo>
                    <a:pt x="128" y="176"/>
                  </a:lnTo>
                  <a:lnTo>
                    <a:pt x="128" y="176"/>
                  </a:lnTo>
                  <a:lnTo>
                    <a:pt x="132" y="176"/>
                  </a:lnTo>
                  <a:lnTo>
                    <a:pt x="176" y="191"/>
                  </a:lnTo>
                  <a:lnTo>
                    <a:pt x="183" y="185"/>
                  </a:lnTo>
                  <a:lnTo>
                    <a:pt x="187" y="159"/>
                  </a:lnTo>
                  <a:lnTo>
                    <a:pt x="187" y="159"/>
                  </a:lnTo>
                  <a:lnTo>
                    <a:pt x="187" y="156"/>
                  </a:lnTo>
                  <a:lnTo>
                    <a:pt x="193" y="150"/>
                  </a:lnTo>
                  <a:lnTo>
                    <a:pt x="202" y="135"/>
                  </a:lnTo>
                  <a:lnTo>
                    <a:pt x="204" y="124"/>
                  </a:lnTo>
                  <a:lnTo>
                    <a:pt x="191" y="117"/>
                  </a:lnTo>
                  <a:lnTo>
                    <a:pt x="189" y="115"/>
                  </a:lnTo>
                  <a:lnTo>
                    <a:pt x="189" y="115"/>
                  </a:lnTo>
                  <a:lnTo>
                    <a:pt x="189" y="102"/>
                  </a:lnTo>
                  <a:lnTo>
                    <a:pt x="180" y="98"/>
                  </a:lnTo>
                  <a:lnTo>
                    <a:pt x="176" y="104"/>
                  </a:lnTo>
                  <a:lnTo>
                    <a:pt x="176" y="104"/>
                  </a:lnTo>
                  <a:lnTo>
                    <a:pt x="174" y="104"/>
                  </a:lnTo>
                  <a:lnTo>
                    <a:pt x="143" y="107"/>
                  </a:lnTo>
                  <a:lnTo>
                    <a:pt x="141" y="115"/>
                  </a:lnTo>
                  <a:lnTo>
                    <a:pt x="139" y="115"/>
                  </a:lnTo>
                  <a:lnTo>
                    <a:pt x="139" y="115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22" y="11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4" y="81"/>
                  </a:lnTo>
                  <a:lnTo>
                    <a:pt x="100" y="37"/>
                  </a:lnTo>
                  <a:lnTo>
                    <a:pt x="65" y="0"/>
                  </a:lnTo>
                  <a:lnTo>
                    <a:pt x="65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Freeform 217">
              <a:extLst>
                <a:ext uri="{FF2B5EF4-FFF2-40B4-BE49-F238E27FC236}">
                  <a16:creationId xmlns:a16="http://schemas.microsoft.com/office/drawing/2014/main" xmlns="" id="{EE980631-E49A-46E1-A06C-0C1EDA535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0" y="2302"/>
              <a:ext cx="137" cy="137"/>
            </a:xfrm>
            <a:custGeom>
              <a:avLst/>
              <a:gdLst>
                <a:gd name="T0" fmla="*/ 11 w 137"/>
                <a:gd name="T1" fmla="*/ 63 h 137"/>
                <a:gd name="T2" fmla="*/ 9 w 137"/>
                <a:gd name="T3" fmla="*/ 74 h 137"/>
                <a:gd name="T4" fmla="*/ 9 w 137"/>
                <a:gd name="T5" fmla="*/ 76 h 137"/>
                <a:gd name="T6" fmla="*/ 9 w 137"/>
                <a:gd name="T7" fmla="*/ 76 h 137"/>
                <a:gd name="T8" fmla="*/ 0 w 137"/>
                <a:gd name="T9" fmla="*/ 91 h 137"/>
                <a:gd name="T10" fmla="*/ 30 w 137"/>
                <a:gd name="T11" fmla="*/ 126 h 137"/>
                <a:gd name="T12" fmla="*/ 30 w 137"/>
                <a:gd name="T13" fmla="*/ 126 h 137"/>
                <a:gd name="T14" fmla="*/ 30 w 137"/>
                <a:gd name="T15" fmla="*/ 126 h 137"/>
                <a:gd name="T16" fmla="*/ 35 w 137"/>
                <a:gd name="T17" fmla="*/ 137 h 137"/>
                <a:gd name="T18" fmla="*/ 57 w 137"/>
                <a:gd name="T19" fmla="*/ 130 h 137"/>
                <a:gd name="T20" fmla="*/ 57 w 137"/>
                <a:gd name="T21" fmla="*/ 130 h 137"/>
                <a:gd name="T22" fmla="*/ 57 w 137"/>
                <a:gd name="T23" fmla="*/ 130 h 137"/>
                <a:gd name="T24" fmla="*/ 85 w 137"/>
                <a:gd name="T25" fmla="*/ 126 h 137"/>
                <a:gd name="T26" fmla="*/ 89 w 137"/>
                <a:gd name="T27" fmla="*/ 104 h 137"/>
                <a:gd name="T28" fmla="*/ 89 w 137"/>
                <a:gd name="T29" fmla="*/ 102 h 137"/>
                <a:gd name="T30" fmla="*/ 89 w 137"/>
                <a:gd name="T31" fmla="*/ 102 h 137"/>
                <a:gd name="T32" fmla="*/ 104 w 137"/>
                <a:gd name="T33" fmla="*/ 93 h 137"/>
                <a:gd name="T34" fmla="*/ 104 w 137"/>
                <a:gd name="T35" fmla="*/ 93 h 137"/>
                <a:gd name="T36" fmla="*/ 104 w 137"/>
                <a:gd name="T37" fmla="*/ 93 h 137"/>
                <a:gd name="T38" fmla="*/ 135 w 137"/>
                <a:gd name="T39" fmla="*/ 87 h 137"/>
                <a:gd name="T40" fmla="*/ 137 w 137"/>
                <a:gd name="T41" fmla="*/ 61 h 137"/>
                <a:gd name="T42" fmla="*/ 131 w 137"/>
                <a:gd name="T43" fmla="*/ 17 h 137"/>
                <a:gd name="T44" fmla="*/ 74 w 137"/>
                <a:gd name="T45" fmla="*/ 0 h 137"/>
                <a:gd name="T46" fmla="*/ 41 w 137"/>
                <a:gd name="T47" fmla="*/ 9 h 137"/>
                <a:gd name="T48" fmla="*/ 37 w 137"/>
                <a:gd name="T49" fmla="*/ 41 h 137"/>
                <a:gd name="T50" fmla="*/ 37 w 137"/>
                <a:gd name="T51" fmla="*/ 43 h 137"/>
                <a:gd name="T52" fmla="*/ 37 w 137"/>
                <a:gd name="T53" fmla="*/ 43 h 137"/>
                <a:gd name="T54" fmla="*/ 11 w 137"/>
                <a:gd name="T55" fmla="*/ 63 h 137"/>
                <a:gd name="T56" fmla="*/ 11 w 137"/>
                <a:gd name="T57" fmla="*/ 63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37" h="137">
                  <a:moveTo>
                    <a:pt x="11" y="63"/>
                  </a:moveTo>
                  <a:lnTo>
                    <a:pt x="9" y="74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0" y="91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5" y="137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85" y="126"/>
                  </a:lnTo>
                  <a:lnTo>
                    <a:pt x="89" y="104"/>
                  </a:lnTo>
                  <a:lnTo>
                    <a:pt x="89" y="102"/>
                  </a:lnTo>
                  <a:lnTo>
                    <a:pt x="89" y="102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04" y="93"/>
                  </a:lnTo>
                  <a:lnTo>
                    <a:pt x="135" y="87"/>
                  </a:lnTo>
                  <a:lnTo>
                    <a:pt x="137" y="61"/>
                  </a:lnTo>
                  <a:lnTo>
                    <a:pt x="131" y="17"/>
                  </a:lnTo>
                  <a:lnTo>
                    <a:pt x="74" y="0"/>
                  </a:lnTo>
                  <a:lnTo>
                    <a:pt x="41" y="9"/>
                  </a:lnTo>
                  <a:lnTo>
                    <a:pt x="37" y="41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11" y="63"/>
                  </a:lnTo>
                  <a:lnTo>
                    <a:pt x="11" y="6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Freeform 218">
              <a:extLst>
                <a:ext uri="{FF2B5EF4-FFF2-40B4-BE49-F238E27FC236}">
                  <a16:creationId xmlns:a16="http://schemas.microsoft.com/office/drawing/2014/main" xmlns="" id="{1F32A791-2F1D-4739-9DDF-B9080541E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" y="2129"/>
              <a:ext cx="388" cy="232"/>
            </a:xfrm>
            <a:custGeom>
              <a:avLst/>
              <a:gdLst>
                <a:gd name="T0" fmla="*/ 7 w 388"/>
                <a:gd name="T1" fmla="*/ 93 h 232"/>
                <a:gd name="T2" fmla="*/ 13 w 388"/>
                <a:gd name="T3" fmla="*/ 110 h 232"/>
                <a:gd name="T4" fmla="*/ 50 w 388"/>
                <a:gd name="T5" fmla="*/ 147 h 232"/>
                <a:gd name="T6" fmla="*/ 55 w 388"/>
                <a:gd name="T7" fmla="*/ 193 h 232"/>
                <a:gd name="T8" fmla="*/ 83 w 388"/>
                <a:gd name="T9" fmla="*/ 223 h 232"/>
                <a:gd name="T10" fmla="*/ 87 w 388"/>
                <a:gd name="T11" fmla="*/ 214 h 232"/>
                <a:gd name="T12" fmla="*/ 120 w 388"/>
                <a:gd name="T13" fmla="*/ 212 h 232"/>
                <a:gd name="T14" fmla="*/ 124 w 388"/>
                <a:gd name="T15" fmla="*/ 203 h 232"/>
                <a:gd name="T16" fmla="*/ 137 w 388"/>
                <a:gd name="T17" fmla="*/ 210 h 232"/>
                <a:gd name="T18" fmla="*/ 137 w 388"/>
                <a:gd name="T19" fmla="*/ 212 h 232"/>
                <a:gd name="T20" fmla="*/ 153 w 388"/>
                <a:gd name="T21" fmla="*/ 232 h 232"/>
                <a:gd name="T22" fmla="*/ 181 w 388"/>
                <a:gd name="T23" fmla="*/ 180 h 232"/>
                <a:gd name="T24" fmla="*/ 181 w 388"/>
                <a:gd name="T25" fmla="*/ 177 h 232"/>
                <a:gd name="T26" fmla="*/ 216 w 388"/>
                <a:gd name="T27" fmla="*/ 119 h 232"/>
                <a:gd name="T28" fmla="*/ 218 w 388"/>
                <a:gd name="T29" fmla="*/ 117 h 232"/>
                <a:gd name="T30" fmla="*/ 264 w 388"/>
                <a:gd name="T31" fmla="*/ 104 h 232"/>
                <a:gd name="T32" fmla="*/ 266 w 388"/>
                <a:gd name="T33" fmla="*/ 104 h 232"/>
                <a:gd name="T34" fmla="*/ 325 w 388"/>
                <a:gd name="T35" fmla="*/ 89 h 232"/>
                <a:gd name="T36" fmla="*/ 327 w 388"/>
                <a:gd name="T37" fmla="*/ 86 h 232"/>
                <a:gd name="T38" fmla="*/ 379 w 388"/>
                <a:gd name="T39" fmla="*/ 99 h 232"/>
                <a:gd name="T40" fmla="*/ 371 w 388"/>
                <a:gd name="T41" fmla="*/ 67 h 232"/>
                <a:gd name="T42" fmla="*/ 312 w 388"/>
                <a:gd name="T43" fmla="*/ 19 h 232"/>
                <a:gd name="T44" fmla="*/ 312 w 388"/>
                <a:gd name="T45" fmla="*/ 19 h 232"/>
                <a:gd name="T46" fmla="*/ 281 w 388"/>
                <a:gd name="T47" fmla="*/ 0 h 232"/>
                <a:gd name="T48" fmla="*/ 272 w 388"/>
                <a:gd name="T49" fmla="*/ 6 h 232"/>
                <a:gd name="T50" fmla="*/ 194 w 388"/>
                <a:gd name="T51" fmla="*/ 4 h 232"/>
                <a:gd name="T52" fmla="*/ 174 w 388"/>
                <a:gd name="T53" fmla="*/ 15 h 232"/>
                <a:gd name="T54" fmla="*/ 163 w 388"/>
                <a:gd name="T55" fmla="*/ 4 h 232"/>
                <a:gd name="T56" fmla="*/ 131 w 388"/>
                <a:gd name="T57" fmla="*/ 21 h 232"/>
                <a:gd name="T58" fmla="*/ 129 w 388"/>
                <a:gd name="T59" fmla="*/ 21 h 232"/>
                <a:gd name="T60" fmla="*/ 70 w 388"/>
                <a:gd name="T61" fmla="*/ 52 h 232"/>
                <a:gd name="T62" fmla="*/ 68 w 388"/>
                <a:gd name="T63" fmla="*/ 52 h 232"/>
                <a:gd name="T64" fmla="*/ 0 w 388"/>
                <a:gd name="T65" fmla="*/ 71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8" h="232">
                  <a:moveTo>
                    <a:pt x="0" y="71"/>
                  </a:moveTo>
                  <a:lnTo>
                    <a:pt x="7" y="93"/>
                  </a:lnTo>
                  <a:lnTo>
                    <a:pt x="7" y="93"/>
                  </a:lnTo>
                  <a:lnTo>
                    <a:pt x="13" y="110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5" y="193"/>
                  </a:lnTo>
                  <a:lnTo>
                    <a:pt x="70" y="221"/>
                  </a:lnTo>
                  <a:lnTo>
                    <a:pt x="83" y="223"/>
                  </a:lnTo>
                  <a:lnTo>
                    <a:pt x="87" y="216"/>
                  </a:lnTo>
                  <a:lnTo>
                    <a:pt x="87" y="214"/>
                  </a:lnTo>
                  <a:lnTo>
                    <a:pt x="89" y="214"/>
                  </a:lnTo>
                  <a:lnTo>
                    <a:pt x="120" y="212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6" y="206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37" y="212"/>
                  </a:lnTo>
                  <a:lnTo>
                    <a:pt x="139" y="225"/>
                  </a:lnTo>
                  <a:lnTo>
                    <a:pt x="153" y="232"/>
                  </a:lnTo>
                  <a:lnTo>
                    <a:pt x="177" y="214"/>
                  </a:lnTo>
                  <a:lnTo>
                    <a:pt x="181" y="180"/>
                  </a:lnTo>
                  <a:lnTo>
                    <a:pt x="181" y="177"/>
                  </a:lnTo>
                  <a:lnTo>
                    <a:pt x="181" y="177"/>
                  </a:lnTo>
                  <a:lnTo>
                    <a:pt x="216" y="169"/>
                  </a:lnTo>
                  <a:lnTo>
                    <a:pt x="216" y="119"/>
                  </a:lnTo>
                  <a:lnTo>
                    <a:pt x="216" y="117"/>
                  </a:lnTo>
                  <a:lnTo>
                    <a:pt x="218" y="117"/>
                  </a:lnTo>
                  <a:lnTo>
                    <a:pt x="248" y="117"/>
                  </a:lnTo>
                  <a:lnTo>
                    <a:pt x="264" y="104"/>
                  </a:lnTo>
                  <a:lnTo>
                    <a:pt x="266" y="102"/>
                  </a:lnTo>
                  <a:lnTo>
                    <a:pt x="266" y="104"/>
                  </a:lnTo>
                  <a:lnTo>
                    <a:pt x="299" y="123"/>
                  </a:lnTo>
                  <a:lnTo>
                    <a:pt x="325" y="89"/>
                  </a:lnTo>
                  <a:lnTo>
                    <a:pt x="325" y="86"/>
                  </a:lnTo>
                  <a:lnTo>
                    <a:pt x="327" y="86"/>
                  </a:lnTo>
                  <a:lnTo>
                    <a:pt x="357" y="108"/>
                  </a:lnTo>
                  <a:lnTo>
                    <a:pt x="379" y="99"/>
                  </a:lnTo>
                  <a:lnTo>
                    <a:pt x="388" y="89"/>
                  </a:lnTo>
                  <a:lnTo>
                    <a:pt x="371" y="67"/>
                  </a:lnTo>
                  <a:lnTo>
                    <a:pt x="333" y="28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12" y="19"/>
                  </a:lnTo>
                  <a:lnTo>
                    <a:pt x="305" y="0"/>
                  </a:lnTo>
                  <a:lnTo>
                    <a:pt x="281" y="0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272" y="6"/>
                  </a:lnTo>
                  <a:lnTo>
                    <a:pt x="194" y="4"/>
                  </a:lnTo>
                  <a:lnTo>
                    <a:pt x="177" y="15"/>
                  </a:lnTo>
                  <a:lnTo>
                    <a:pt x="174" y="15"/>
                  </a:lnTo>
                  <a:lnTo>
                    <a:pt x="174" y="15"/>
                  </a:lnTo>
                  <a:lnTo>
                    <a:pt x="163" y="4"/>
                  </a:lnTo>
                  <a:lnTo>
                    <a:pt x="139" y="6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29" y="21"/>
                  </a:lnTo>
                  <a:lnTo>
                    <a:pt x="113" y="26"/>
                  </a:lnTo>
                  <a:lnTo>
                    <a:pt x="70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28" y="54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Freeform 219">
              <a:extLst>
                <a:ext uri="{FF2B5EF4-FFF2-40B4-BE49-F238E27FC236}">
                  <a16:creationId xmlns:a16="http://schemas.microsoft.com/office/drawing/2014/main" xmlns="" id="{B54C4180-66D6-4C5A-8C51-CE0E6264D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6" y="2237"/>
              <a:ext cx="192" cy="167"/>
            </a:xfrm>
            <a:custGeom>
              <a:avLst/>
              <a:gdLst>
                <a:gd name="T0" fmla="*/ 79 w 192"/>
                <a:gd name="T1" fmla="*/ 20 h 167"/>
                <a:gd name="T2" fmla="*/ 46 w 192"/>
                <a:gd name="T3" fmla="*/ 0 h 167"/>
                <a:gd name="T4" fmla="*/ 31 w 192"/>
                <a:gd name="T5" fmla="*/ 11 h 167"/>
                <a:gd name="T6" fmla="*/ 31 w 192"/>
                <a:gd name="T7" fmla="*/ 13 h 167"/>
                <a:gd name="T8" fmla="*/ 28 w 192"/>
                <a:gd name="T9" fmla="*/ 13 h 167"/>
                <a:gd name="T10" fmla="*/ 0 w 192"/>
                <a:gd name="T11" fmla="*/ 13 h 167"/>
                <a:gd name="T12" fmla="*/ 0 w 192"/>
                <a:gd name="T13" fmla="*/ 61 h 167"/>
                <a:gd name="T14" fmla="*/ 57 w 192"/>
                <a:gd name="T15" fmla="*/ 78 h 167"/>
                <a:gd name="T16" fmla="*/ 57 w 192"/>
                <a:gd name="T17" fmla="*/ 80 h 167"/>
                <a:gd name="T18" fmla="*/ 57 w 192"/>
                <a:gd name="T19" fmla="*/ 80 h 167"/>
                <a:gd name="T20" fmla="*/ 66 w 192"/>
                <a:gd name="T21" fmla="*/ 126 h 167"/>
                <a:gd name="T22" fmla="*/ 66 w 192"/>
                <a:gd name="T23" fmla="*/ 126 h 167"/>
                <a:gd name="T24" fmla="*/ 66 w 192"/>
                <a:gd name="T25" fmla="*/ 126 h 167"/>
                <a:gd name="T26" fmla="*/ 63 w 192"/>
                <a:gd name="T27" fmla="*/ 150 h 167"/>
                <a:gd name="T28" fmla="*/ 79 w 192"/>
                <a:gd name="T29" fmla="*/ 143 h 167"/>
                <a:gd name="T30" fmla="*/ 79 w 192"/>
                <a:gd name="T31" fmla="*/ 143 h 167"/>
                <a:gd name="T32" fmla="*/ 79 w 192"/>
                <a:gd name="T33" fmla="*/ 143 h 167"/>
                <a:gd name="T34" fmla="*/ 127 w 192"/>
                <a:gd name="T35" fmla="*/ 137 h 167"/>
                <a:gd name="T36" fmla="*/ 127 w 192"/>
                <a:gd name="T37" fmla="*/ 137 h 167"/>
                <a:gd name="T38" fmla="*/ 129 w 192"/>
                <a:gd name="T39" fmla="*/ 137 h 167"/>
                <a:gd name="T40" fmla="*/ 161 w 192"/>
                <a:gd name="T41" fmla="*/ 147 h 167"/>
                <a:gd name="T42" fmla="*/ 164 w 192"/>
                <a:gd name="T43" fmla="*/ 147 h 167"/>
                <a:gd name="T44" fmla="*/ 164 w 192"/>
                <a:gd name="T45" fmla="*/ 147 h 167"/>
                <a:gd name="T46" fmla="*/ 174 w 192"/>
                <a:gd name="T47" fmla="*/ 167 h 167"/>
                <a:gd name="T48" fmla="*/ 192 w 192"/>
                <a:gd name="T49" fmla="*/ 150 h 167"/>
                <a:gd name="T50" fmla="*/ 190 w 192"/>
                <a:gd name="T51" fmla="*/ 113 h 167"/>
                <a:gd name="T52" fmla="*/ 181 w 192"/>
                <a:gd name="T53" fmla="*/ 93 h 167"/>
                <a:gd name="T54" fmla="*/ 159 w 192"/>
                <a:gd name="T55" fmla="*/ 67 h 167"/>
                <a:gd name="T56" fmla="*/ 98 w 192"/>
                <a:gd name="T57" fmla="*/ 59 h 167"/>
                <a:gd name="T58" fmla="*/ 98 w 192"/>
                <a:gd name="T59" fmla="*/ 59 h 167"/>
                <a:gd name="T60" fmla="*/ 98 w 192"/>
                <a:gd name="T61" fmla="*/ 56 h 167"/>
                <a:gd name="T62" fmla="*/ 85 w 192"/>
                <a:gd name="T63" fmla="*/ 46 h 167"/>
                <a:gd name="T64" fmla="*/ 83 w 192"/>
                <a:gd name="T65" fmla="*/ 46 h 167"/>
                <a:gd name="T66" fmla="*/ 83 w 192"/>
                <a:gd name="T67" fmla="*/ 46 h 167"/>
                <a:gd name="T68" fmla="*/ 79 w 192"/>
                <a:gd name="T69" fmla="*/ 20 h 167"/>
                <a:gd name="T70" fmla="*/ 79 w 192"/>
                <a:gd name="T71" fmla="*/ 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2" h="167">
                  <a:moveTo>
                    <a:pt x="79" y="20"/>
                  </a:moveTo>
                  <a:lnTo>
                    <a:pt x="46" y="0"/>
                  </a:lnTo>
                  <a:lnTo>
                    <a:pt x="31" y="11"/>
                  </a:lnTo>
                  <a:lnTo>
                    <a:pt x="31" y="13"/>
                  </a:lnTo>
                  <a:lnTo>
                    <a:pt x="28" y="13"/>
                  </a:lnTo>
                  <a:lnTo>
                    <a:pt x="0" y="13"/>
                  </a:lnTo>
                  <a:lnTo>
                    <a:pt x="0" y="61"/>
                  </a:lnTo>
                  <a:lnTo>
                    <a:pt x="57" y="78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6" y="126"/>
                  </a:lnTo>
                  <a:lnTo>
                    <a:pt x="63" y="150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79" y="143"/>
                  </a:lnTo>
                  <a:lnTo>
                    <a:pt x="127" y="137"/>
                  </a:lnTo>
                  <a:lnTo>
                    <a:pt x="127" y="137"/>
                  </a:lnTo>
                  <a:lnTo>
                    <a:pt x="129" y="137"/>
                  </a:lnTo>
                  <a:lnTo>
                    <a:pt x="161" y="147"/>
                  </a:lnTo>
                  <a:lnTo>
                    <a:pt x="164" y="147"/>
                  </a:lnTo>
                  <a:lnTo>
                    <a:pt x="164" y="147"/>
                  </a:lnTo>
                  <a:lnTo>
                    <a:pt x="174" y="167"/>
                  </a:lnTo>
                  <a:lnTo>
                    <a:pt x="192" y="150"/>
                  </a:lnTo>
                  <a:lnTo>
                    <a:pt x="190" y="113"/>
                  </a:lnTo>
                  <a:lnTo>
                    <a:pt x="181" y="93"/>
                  </a:lnTo>
                  <a:lnTo>
                    <a:pt x="159" y="67"/>
                  </a:lnTo>
                  <a:lnTo>
                    <a:pt x="98" y="59"/>
                  </a:lnTo>
                  <a:lnTo>
                    <a:pt x="98" y="59"/>
                  </a:lnTo>
                  <a:lnTo>
                    <a:pt x="98" y="56"/>
                  </a:lnTo>
                  <a:lnTo>
                    <a:pt x="85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79" y="20"/>
                  </a:lnTo>
                  <a:lnTo>
                    <a:pt x="79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Freeform 220">
              <a:extLst>
                <a:ext uri="{FF2B5EF4-FFF2-40B4-BE49-F238E27FC236}">
                  <a16:creationId xmlns:a16="http://schemas.microsoft.com/office/drawing/2014/main" xmlns="" id="{08FABF00-6A6C-42E9-82A0-5EE2E46E72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" y="2378"/>
              <a:ext cx="338" cy="310"/>
            </a:xfrm>
            <a:custGeom>
              <a:avLst/>
              <a:gdLst>
                <a:gd name="T0" fmla="*/ 215 w 338"/>
                <a:gd name="T1" fmla="*/ 30 h 310"/>
                <a:gd name="T2" fmla="*/ 213 w 338"/>
                <a:gd name="T3" fmla="*/ 30 h 310"/>
                <a:gd name="T4" fmla="*/ 168 w 338"/>
                <a:gd name="T5" fmla="*/ 0 h 310"/>
                <a:gd name="T6" fmla="*/ 104 w 338"/>
                <a:gd name="T7" fmla="*/ 13 h 310"/>
                <a:gd name="T8" fmla="*/ 102 w 338"/>
                <a:gd name="T9" fmla="*/ 13 h 310"/>
                <a:gd name="T10" fmla="*/ 59 w 338"/>
                <a:gd name="T11" fmla="*/ 30 h 310"/>
                <a:gd name="T12" fmla="*/ 54 w 338"/>
                <a:gd name="T13" fmla="*/ 54 h 310"/>
                <a:gd name="T14" fmla="*/ 22 w 338"/>
                <a:gd name="T15" fmla="*/ 58 h 310"/>
                <a:gd name="T16" fmla="*/ 4 w 338"/>
                <a:gd name="T17" fmla="*/ 74 h 310"/>
                <a:gd name="T18" fmla="*/ 30 w 338"/>
                <a:gd name="T19" fmla="*/ 74 h 310"/>
                <a:gd name="T20" fmla="*/ 52 w 338"/>
                <a:gd name="T21" fmla="*/ 104 h 310"/>
                <a:gd name="T22" fmla="*/ 91 w 338"/>
                <a:gd name="T23" fmla="*/ 106 h 310"/>
                <a:gd name="T24" fmla="*/ 93 w 338"/>
                <a:gd name="T25" fmla="*/ 130 h 310"/>
                <a:gd name="T26" fmla="*/ 93 w 338"/>
                <a:gd name="T27" fmla="*/ 132 h 310"/>
                <a:gd name="T28" fmla="*/ 104 w 338"/>
                <a:gd name="T29" fmla="*/ 162 h 310"/>
                <a:gd name="T30" fmla="*/ 104 w 338"/>
                <a:gd name="T31" fmla="*/ 165 h 310"/>
                <a:gd name="T32" fmla="*/ 133 w 338"/>
                <a:gd name="T33" fmla="*/ 191 h 310"/>
                <a:gd name="T34" fmla="*/ 146 w 338"/>
                <a:gd name="T35" fmla="*/ 182 h 310"/>
                <a:gd name="T36" fmla="*/ 159 w 338"/>
                <a:gd name="T37" fmla="*/ 193 h 310"/>
                <a:gd name="T38" fmla="*/ 159 w 338"/>
                <a:gd name="T39" fmla="*/ 193 h 310"/>
                <a:gd name="T40" fmla="*/ 185 w 338"/>
                <a:gd name="T41" fmla="*/ 230 h 310"/>
                <a:gd name="T42" fmla="*/ 183 w 338"/>
                <a:gd name="T43" fmla="*/ 236 h 310"/>
                <a:gd name="T44" fmla="*/ 202 w 338"/>
                <a:gd name="T45" fmla="*/ 258 h 310"/>
                <a:gd name="T46" fmla="*/ 198 w 338"/>
                <a:gd name="T47" fmla="*/ 284 h 310"/>
                <a:gd name="T48" fmla="*/ 213 w 338"/>
                <a:gd name="T49" fmla="*/ 310 h 310"/>
                <a:gd name="T50" fmla="*/ 222 w 338"/>
                <a:gd name="T51" fmla="*/ 295 h 310"/>
                <a:gd name="T52" fmla="*/ 231 w 338"/>
                <a:gd name="T53" fmla="*/ 273 h 310"/>
                <a:gd name="T54" fmla="*/ 248 w 338"/>
                <a:gd name="T55" fmla="*/ 273 h 310"/>
                <a:gd name="T56" fmla="*/ 250 w 338"/>
                <a:gd name="T57" fmla="*/ 273 h 310"/>
                <a:gd name="T58" fmla="*/ 277 w 338"/>
                <a:gd name="T59" fmla="*/ 279 h 310"/>
                <a:gd name="T60" fmla="*/ 257 w 338"/>
                <a:gd name="T61" fmla="*/ 243 h 310"/>
                <a:gd name="T62" fmla="*/ 257 w 338"/>
                <a:gd name="T63" fmla="*/ 240 h 310"/>
                <a:gd name="T64" fmla="*/ 261 w 338"/>
                <a:gd name="T65" fmla="*/ 214 h 310"/>
                <a:gd name="T66" fmla="*/ 300 w 338"/>
                <a:gd name="T67" fmla="*/ 219 h 310"/>
                <a:gd name="T68" fmla="*/ 338 w 338"/>
                <a:gd name="T69" fmla="*/ 184 h 310"/>
                <a:gd name="T70" fmla="*/ 324 w 338"/>
                <a:gd name="T71" fmla="*/ 182 h 310"/>
                <a:gd name="T72" fmla="*/ 318 w 338"/>
                <a:gd name="T73" fmla="*/ 173 h 310"/>
                <a:gd name="T74" fmla="*/ 318 w 338"/>
                <a:gd name="T75" fmla="*/ 169 h 310"/>
                <a:gd name="T76" fmla="*/ 335 w 338"/>
                <a:gd name="T77" fmla="*/ 152 h 310"/>
                <a:gd name="T78" fmla="*/ 318 w 338"/>
                <a:gd name="T79" fmla="*/ 149 h 310"/>
                <a:gd name="T80" fmla="*/ 316 w 338"/>
                <a:gd name="T81" fmla="*/ 139 h 310"/>
                <a:gd name="T82" fmla="*/ 316 w 338"/>
                <a:gd name="T83" fmla="*/ 139 h 310"/>
                <a:gd name="T84" fmla="*/ 320 w 338"/>
                <a:gd name="T85" fmla="*/ 119 h 310"/>
                <a:gd name="T86" fmla="*/ 292 w 338"/>
                <a:gd name="T87" fmla="*/ 134 h 310"/>
                <a:gd name="T88" fmla="*/ 257 w 338"/>
                <a:gd name="T89" fmla="*/ 128 h 310"/>
                <a:gd name="T90" fmla="*/ 255 w 338"/>
                <a:gd name="T91" fmla="*/ 128 h 310"/>
                <a:gd name="T92" fmla="*/ 242 w 338"/>
                <a:gd name="T93" fmla="*/ 104 h 310"/>
                <a:gd name="T94" fmla="*/ 233 w 338"/>
                <a:gd name="T95" fmla="*/ 78 h 310"/>
                <a:gd name="T96" fmla="*/ 233 w 338"/>
                <a:gd name="T97" fmla="*/ 76 h 310"/>
                <a:gd name="T98" fmla="*/ 233 w 338"/>
                <a:gd name="T99" fmla="*/ 15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8" h="310">
                  <a:moveTo>
                    <a:pt x="233" y="15"/>
                  </a:moveTo>
                  <a:lnTo>
                    <a:pt x="215" y="30"/>
                  </a:lnTo>
                  <a:lnTo>
                    <a:pt x="213" y="32"/>
                  </a:lnTo>
                  <a:lnTo>
                    <a:pt x="213" y="30"/>
                  </a:lnTo>
                  <a:lnTo>
                    <a:pt x="200" y="11"/>
                  </a:lnTo>
                  <a:lnTo>
                    <a:pt x="168" y="0"/>
                  </a:lnTo>
                  <a:lnTo>
                    <a:pt x="122" y="6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72" y="22"/>
                  </a:lnTo>
                  <a:lnTo>
                    <a:pt x="59" y="30"/>
                  </a:lnTo>
                  <a:lnTo>
                    <a:pt x="54" y="52"/>
                  </a:lnTo>
                  <a:lnTo>
                    <a:pt x="54" y="54"/>
                  </a:lnTo>
                  <a:lnTo>
                    <a:pt x="52" y="54"/>
                  </a:lnTo>
                  <a:lnTo>
                    <a:pt x="22" y="58"/>
                  </a:lnTo>
                  <a:lnTo>
                    <a:pt x="0" y="65"/>
                  </a:lnTo>
                  <a:lnTo>
                    <a:pt x="4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2" y="76"/>
                  </a:lnTo>
                  <a:lnTo>
                    <a:pt x="52" y="104"/>
                  </a:lnTo>
                  <a:lnTo>
                    <a:pt x="91" y="106"/>
                  </a:lnTo>
                  <a:lnTo>
                    <a:pt x="91" y="106"/>
                  </a:lnTo>
                  <a:lnTo>
                    <a:pt x="91" y="108"/>
                  </a:lnTo>
                  <a:lnTo>
                    <a:pt x="93" y="130"/>
                  </a:lnTo>
                  <a:lnTo>
                    <a:pt x="93" y="132"/>
                  </a:lnTo>
                  <a:lnTo>
                    <a:pt x="93" y="132"/>
                  </a:lnTo>
                  <a:lnTo>
                    <a:pt x="87" y="141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5"/>
                  </a:lnTo>
                  <a:lnTo>
                    <a:pt x="124" y="193"/>
                  </a:lnTo>
                  <a:lnTo>
                    <a:pt x="133" y="191"/>
                  </a:lnTo>
                  <a:lnTo>
                    <a:pt x="146" y="182"/>
                  </a:lnTo>
                  <a:lnTo>
                    <a:pt x="146" y="182"/>
                  </a:lnTo>
                  <a:lnTo>
                    <a:pt x="148" y="182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85" y="230"/>
                  </a:lnTo>
                  <a:lnTo>
                    <a:pt x="185" y="230"/>
                  </a:lnTo>
                  <a:lnTo>
                    <a:pt x="185" y="232"/>
                  </a:lnTo>
                  <a:lnTo>
                    <a:pt x="183" y="236"/>
                  </a:lnTo>
                  <a:lnTo>
                    <a:pt x="202" y="258"/>
                  </a:lnTo>
                  <a:lnTo>
                    <a:pt x="202" y="258"/>
                  </a:lnTo>
                  <a:lnTo>
                    <a:pt x="202" y="260"/>
                  </a:lnTo>
                  <a:lnTo>
                    <a:pt x="198" y="284"/>
                  </a:lnTo>
                  <a:lnTo>
                    <a:pt x="209" y="310"/>
                  </a:lnTo>
                  <a:lnTo>
                    <a:pt x="213" y="310"/>
                  </a:lnTo>
                  <a:lnTo>
                    <a:pt x="222" y="295"/>
                  </a:lnTo>
                  <a:lnTo>
                    <a:pt x="222" y="295"/>
                  </a:lnTo>
                  <a:lnTo>
                    <a:pt x="231" y="273"/>
                  </a:lnTo>
                  <a:lnTo>
                    <a:pt x="231" y="273"/>
                  </a:lnTo>
                  <a:lnTo>
                    <a:pt x="233" y="273"/>
                  </a:lnTo>
                  <a:lnTo>
                    <a:pt x="248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70" y="286"/>
                  </a:lnTo>
                  <a:lnTo>
                    <a:pt x="277" y="279"/>
                  </a:lnTo>
                  <a:lnTo>
                    <a:pt x="272" y="256"/>
                  </a:lnTo>
                  <a:lnTo>
                    <a:pt x="257" y="243"/>
                  </a:lnTo>
                  <a:lnTo>
                    <a:pt x="257" y="240"/>
                  </a:lnTo>
                  <a:lnTo>
                    <a:pt x="257" y="240"/>
                  </a:lnTo>
                  <a:lnTo>
                    <a:pt x="259" y="217"/>
                  </a:lnTo>
                  <a:lnTo>
                    <a:pt x="261" y="214"/>
                  </a:lnTo>
                  <a:lnTo>
                    <a:pt x="261" y="214"/>
                  </a:lnTo>
                  <a:lnTo>
                    <a:pt x="300" y="219"/>
                  </a:lnTo>
                  <a:lnTo>
                    <a:pt x="333" y="210"/>
                  </a:lnTo>
                  <a:lnTo>
                    <a:pt x="338" y="184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24" y="182"/>
                  </a:lnTo>
                  <a:lnTo>
                    <a:pt x="318" y="173"/>
                  </a:lnTo>
                  <a:lnTo>
                    <a:pt x="316" y="171"/>
                  </a:lnTo>
                  <a:lnTo>
                    <a:pt x="318" y="169"/>
                  </a:lnTo>
                  <a:lnTo>
                    <a:pt x="333" y="158"/>
                  </a:lnTo>
                  <a:lnTo>
                    <a:pt x="335" y="152"/>
                  </a:lnTo>
                  <a:lnTo>
                    <a:pt x="320" y="152"/>
                  </a:lnTo>
                  <a:lnTo>
                    <a:pt x="318" y="149"/>
                  </a:lnTo>
                  <a:lnTo>
                    <a:pt x="318" y="14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16" y="139"/>
                  </a:lnTo>
                  <a:lnTo>
                    <a:pt x="324" y="123"/>
                  </a:lnTo>
                  <a:lnTo>
                    <a:pt x="320" y="119"/>
                  </a:lnTo>
                  <a:lnTo>
                    <a:pt x="292" y="134"/>
                  </a:lnTo>
                  <a:lnTo>
                    <a:pt x="292" y="134"/>
                  </a:lnTo>
                  <a:lnTo>
                    <a:pt x="290" y="134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5" y="128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33" y="78"/>
                  </a:lnTo>
                  <a:lnTo>
                    <a:pt x="233" y="76"/>
                  </a:lnTo>
                  <a:lnTo>
                    <a:pt x="233" y="76"/>
                  </a:lnTo>
                  <a:lnTo>
                    <a:pt x="233" y="15"/>
                  </a:lnTo>
                  <a:lnTo>
                    <a:pt x="233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Freeform 221">
              <a:extLst>
                <a:ext uri="{FF2B5EF4-FFF2-40B4-BE49-F238E27FC236}">
                  <a16:creationId xmlns:a16="http://schemas.microsoft.com/office/drawing/2014/main" xmlns="" id="{D92D32DA-271B-426F-B974-2EFFFAC7D3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7" y="2326"/>
              <a:ext cx="228" cy="232"/>
            </a:xfrm>
            <a:custGeom>
              <a:avLst/>
              <a:gdLst>
                <a:gd name="T0" fmla="*/ 0 w 228"/>
                <a:gd name="T1" fmla="*/ 143 h 232"/>
                <a:gd name="T2" fmla="*/ 4 w 228"/>
                <a:gd name="T3" fmla="*/ 154 h 232"/>
                <a:gd name="T4" fmla="*/ 17 w 228"/>
                <a:gd name="T5" fmla="*/ 175 h 232"/>
                <a:gd name="T6" fmla="*/ 48 w 228"/>
                <a:gd name="T7" fmla="*/ 182 h 232"/>
                <a:gd name="T8" fmla="*/ 76 w 228"/>
                <a:gd name="T9" fmla="*/ 167 h 232"/>
                <a:gd name="T10" fmla="*/ 78 w 228"/>
                <a:gd name="T11" fmla="*/ 167 h 232"/>
                <a:gd name="T12" fmla="*/ 78 w 228"/>
                <a:gd name="T13" fmla="*/ 167 h 232"/>
                <a:gd name="T14" fmla="*/ 87 w 228"/>
                <a:gd name="T15" fmla="*/ 173 h 232"/>
                <a:gd name="T16" fmla="*/ 89 w 228"/>
                <a:gd name="T17" fmla="*/ 173 h 232"/>
                <a:gd name="T18" fmla="*/ 87 w 228"/>
                <a:gd name="T19" fmla="*/ 175 h 232"/>
                <a:gd name="T20" fmla="*/ 78 w 228"/>
                <a:gd name="T21" fmla="*/ 191 h 232"/>
                <a:gd name="T22" fmla="*/ 80 w 228"/>
                <a:gd name="T23" fmla="*/ 199 h 232"/>
                <a:gd name="T24" fmla="*/ 96 w 228"/>
                <a:gd name="T25" fmla="*/ 199 h 232"/>
                <a:gd name="T26" fmla="*/ 98 w 228"/>
                <a:gd name="T27" fmla="*/ 201 h 232"/>
                <a:gd name="T28" fmla="*/ 98 w 228"/>
                <a:gd name="T29" fmla="*/ 204 h 232"/>
                <a:gd name="T30" fmla="*/ 96 w 228"/>
                <a:gd name="T31" fmla="*/ 212 h 232"/>
                <a:gd name="T32" fmla="*/ 96 w 228"/>
                <a:gd name="T33" fmla="*/ 212 h 232"/>
                <a:gd name="T34" fmla="*/ 96 w 228"/>
                <a:gd name="T35" fmla="*/ 212 h 232"/>
                <a:gd name="T36" fmla="*/ 80 w 228"/>
                <a:gd name="T37" fmla="*/ 223 h 232"/>
                <a:gd name="T38" fmla="*/ 85 w 228"/>
                <a:gd name="T39" fmla="*/ 230 h 232"/>
                <a:gd name="T40" fmla="*/ 98 w 228"/>
                <a:gd name="T41" fmla="*/ 232 h 232"/>
                <a:gd name="T42" fmla="*/ 117 w 228"/>
                <a:gd name="T43" fmla="*/ 232 h 232"/>
                <a:gd name="T44" fmla="*/ 137 w 228"/>
                <a:gd name="T45" fmla="*/ 214 h 232"/>
                <a:gd name="T46" fmla="*/ 137 w 228"/>
                <a:gd name="T47" fmla="*/ 169 h 232"/>
                <a:gd name="T48" fmla="*/ 137 w 228"/>
                <a:gd name="T49" fmla="*/ 167 h 232"/>
                <a:gd name="T50" fmla="*/ 139 w 228"/>
                <a:gd name="T51" fmla="*/ 167 h 232"/>
                <a:gd name="T52" fmla="*/ 159 w 228"/>
                <a:gd name="T53" fmla="*/ 169 h 232"/>
                <a:gd name="T54" fmla="*/ 176 w 228"/>
                <a:gd name="T55" fmla="*/ 147 h 232"/>
                <a:gd name="T56" fmla="*/ 189 w 228"/>
                <a:gd name="T57" fmla="*/ 117 h 232"/>
                <a:gd name="T58" fmla="*/ 189 w 228"/>
                <a:gd name="T59" fmla="*/ 117 h 232"/>
                <a:gd name="T60" fmla="*/ 189 w 228"/>
                <a:gd name="T61" fmla="*/ 115 h 232"/>
                <a:gd name="T62" fmla="*/ 207 w 228"/>
                <a:gd name="T63" fmla="*/ 95 h 232"/>
                <a:gd name="T64" fmla="*/ 228 w 228"/>
                <a:gd name="T65" fmla="*/ 41 h 232"/>
                <a:gd name="T66" fmla="*/ 218 w 228"/>
                <a:gd name="T67" fmla="*/ 35 h 232"/>
                <a:gd name="T68" fmla="*/ 218 w 228"/>
                <a:gd name="T69" fmla="*/ 35 h 232"/>
                <a:gd name="T70" fmla="*/ 218 w 228"/>
                <a:gd name="T71" fmla="*/ 32 h 232"/>
                <a:gd name="T72" fmla="*/ 204 w 228"/>
                <a:gd name="T73" fmla="*/ 19 h 232"/>
                <a:gd name="T74" fmla="*/ 189 w 228"/>
                <a:gd name="T75" fmla="*/ 22 h 232"/>
                <a:gd name="T76" fmla="*/ 187 w 228"/>
                <a:gd name="T77" fmla="*/ 22 h 232"/>
                <a:gd name="T78" fmla="*/ 187 w 228"/>
                <a:gd name="T79" fmla="*/ 22 h 232"/>
                <a:gd name="T80" fmla="*/ 165 w 228"/>
                <a:gd name="T81" fmla="*/ 2 h 232"/>
                <a:gd name="T82" fmla="*/ 130 w 228"/>
                <a:gd name="T83" fmla="*/ 0 h 232"/>
                <a:gd name="T84" fmla="*/ 130 w 228"/>
                <a:gd name="T85" fmla="*/ 11 h 232"/>
                <a:gd name="T86" fmla="*/ 130 w 228"/>
                <a:gd name="T87" fmla="*/ 13 h 232"/>
                <a:gd name="T88" fmla="*/ 128 w 228"/>
                <a:gd name="T89" fmla="*/ 28 h 232"/>
                <a:gd name="T90" fmla="*/ 128 w 228"/>
                <a:gd name="T91" fmla="*/ 30 h 232"/>
                <a:gd name="T92" fmla="*/ 126 w 228"/>
                <a:gd name="T93" fmla="*/ 30 h 232"/>
                <a:gd name="T94" fmla="*/ 102 w 228"/>
                <a:gd name="T95" fmla="*/ 50 h 232"/>
                <a:gd name="T96" fmla="*/ 102 w 228"/>
                <a:gd name="T97" fmla="*/ 52 h 232"/>
                <a:gd name="T98" fmla="*/ 100 w 228"/>
                <a:gd name="T99" fmla="*/ 50 h 232"/>
                <a:gd name="T100" fmla="*/ 80 w 228"/>
                <a:gd name="T101" fmla="*/ 41 h 232"/>
                <a:gd name="T102" fmla="*/ 65 w 228"/>
                <a:gd name="T103" fmla="*/ 41 h 232"/>
                <a:gd name="T104" fmla="*/ 50 w 228"/>
                <a:gd name="T105" fmla="*/ 95 h 232"/>
                <a:gd name="T106" fmla="*/ 50 w 228"/>
                <a:gd name="T107" fmla="*/ 97 h 232"/>
                <a:gd name="T108" fmla="*/ 48 w 228"/>
                <a:gd name="T109" fmla="*/ 97 h 232"/>
                <a:gd name="T110" fmla="*/ 15 w 228"/>
                <a:gd name="T111" fmla="*/ 102 h 232"/>
                <a:gd name="T112" fmla="*/ 0 w 228"/>
                <a:gd name="T113" fmla="*/ 143 h 232"/>
                <a:gd name="T114" fmla="*/ 0 w 228"/>
                <a:gd name="T115" fmla="*/ 143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28" h="232">
                  <a:moveTo>
                    <a:pt x="0" y="143"/>
                  </a:moveTo>
                  <a:lnTo>
                    <a:pt x="4" y="154"/>
                  </a:lnTo>
                  <a:lnTo>
                    <a:pt x="17" y="175"/>
                  </a:lnTo>
                  <a:lnTo>
                    <a:pt x="48" y="182"/>
                  </a:lnTo>
                  <a:lnTo>
                    <a:pt x="76" y="167"/>
                  </a:lnTo>
                  <a:lnTo>
                    <a:pt x="78" y="167"/>
                  </a:lnTo>
                  <a:lnTo>
                    <a:pt x="78" y="167"/>
                  </a:lnTo>
                  <a:lnTo>
                    <a:pt x="87" y="173"/>
                  </a:lnTo>
                  <a:lnTo>
                    <a:pt x="89" y="173"/>
                  </a:lnTo>
                  <a:lnTo>
                    <a:pt x="87" y="175"/>
                  </a:lnTo>
                  <a:lnTo>
                    <a:pt x="78" y="191"/>
                  </a:lnTo>
                  <a:lnTo>
                    <a:pt x="80" y="199"/>
                  </a:lnTo>
                  <a:lnTo>
                    <a:pt x="96" y="199"/>
                  </a:lnTo>
                  <a:lnTo>
                    <a:pt x="98" y="201"/>
                  </a:lnTo>
                  <a:lnTo>
                    <a:pt x="98" y="204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96" y="212"/>
                  </a:lnTo>
                  <a:lnTo>
                    <a:pt x="80" y="223"/>
                  </a:lnTo>
                  <a:lnTo>
                    <a:pt x="85" y="230"/>
                  </a:lnTo>
                  <a:lnTo>
                    <a:pt x="98" y="232"/>
                  </a:lnTo>
                  <a:lnTo>
                    <a:pt x="117" y="232"/>
                  </a:lnTo>
                  <a:lnTo>
                    <a:pt x="137" y="214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7"/>
                  </a:lnTo>
                  <a:lnTo>
                    <a:pt x="159" y="169"/>
                  </a:lnTo>
                  <a:lnTo>
                    <a:pt x="176" y="147"/>
                  </a:lnTo>
                  <a:lnTo>
                    <a:pt x="189" y="117"/>
                  </a:lnTo>
                  <a:lnTo>
                    <a:pt x="189" y="117"/>
                  </a:lnTo>
                  <a:lnTo>
                    <a:pt x="189" y="115"/>
                  </a:lnTo>
                  <a:lnTo>
                    <a:pt x="207" y="95"/>
                  </a:lnTo>
                  <a:lnTo>
                    <a:pt x="228" y="41"/>
                  </a:lnTo>
                  <a:lnTo>
                    <a:pt x="218" y="35"/>
                  </a:lnTo>
                  <a:lnTo>
                    <a:pt x="218" y="35"/>
                  </a:lnTo>
                  <a:lnTo>
                    <a:pt x="218" y="32"/>
                  </a:lnTo>
                  <a:lnTo>
                    <a:pt x="204" y="19"/>
                  </a:lnTo>
                  <a:lnTo>
                    <a:pt x="189" y="22"/>
                  </a:lnTo>
                  <a:lnTo>
                    <a:pt x="187" y="22"/>
                  </a:lnTo>
                  <a:lnTo>
                    <a:pt x="187" y="22"/>
                  </a:lnTo>
                  <a:lnTo>
                    <a:pt x="165" y="2"/>
                  </a:lnTo>
                  <a:lnTo>
                    <a:pt x="130" y="0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28"/>
                  </a:lnTo>
                  <a:lnTo>
                    <a:pt x="128" y="30"/>
                  </a:lnTo>
                  <a:lnTo>
                    <a:pt x="126" y="30"/>
                  </a:lnTo>
                  <a:lnTo>
                    <a:pt x="102" y="50"/>
                  </a:lnTo>
                  <a:lnTo>
                    <a:pt x="102" y="52"/>
                  </a:lnTo>
                  <a:lnTo>
                    <a:pt x="100" y="50"/>
                  </a:lnTo>
                  <a:lnTo>
                    <a:pt x="80" y="41"/>
                  </a:lnTo>
                  <a:lnTo>
                    <a:pt x="65" y="41"/>
                  </a:lnTo>
                  <a:lnTo>
                    <a:pt x="50" y="95"/>
                  </a:lnTo>
                  <a:lnTo>
                    <a:pt x="50" y="97"/>
                  </a:lnTo>
                  <a:lnTo>
                    <a:pt x="48" y="97"/>
                  </a:lnTo>
                  <a:lnTo>
                    <a:pt x="15" y="102"/>
                  </a:lnTo>
                  <a:lnTo>
                    <a:pt x="0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Freeform 222">
              <a:extLst>
                <a:ext uri="{FF2B5EF4-FFF2-40B4-BE49-F238E27FC236}">
                  <a16:creationId xmlns:a16="http://schemas.microsoft.com/office/drawing/2014/main" xmlns="" id="{3A133D9E-5D15-40E1-B7F6-6C834B8E76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4" y="2543"/>
              <a:ext cx="362" cy="476"/>
            </a:xfrm>
            <a:custGeom>
              <a:avLst/>
              <a:gdLst>
                <a:gd name="T0" fmla="*/ 152 w 362"/>
                <a:gd name="T1" fmla="*/ 19 h 476"/>
                <a:gd name="T2" fmla="*/ 129 w 362"/>
                <a:gd name="T3" fmla="*/ 47 h 476"/>
                <a:gd name="T4" fmla="*/ 94 w 362"/>
                <a:gd name="T5" fmla="*/ 58 h 476"/>
                <a:gd name="T6" fmla="*/ 54 w 362"/>
                <a:gd name="T7" fmla="*/ 54 h 476"/>
                <a:gd name="T8" fmla="*/ 68 w 362"/>
                <a:gd name="T9" fmla="*/ 88 h 476"/>
                <a:gd name="T10" fmla="*/ 72 w 362"/>
                <a:gd name="T11" fmla="*/ 114 h 476"/>
                <a:gd name="T12" fmla="*/ 63 w 362"/>
                <a:gd name="T13" fmla="*/ 127 h 476"/>
                <a:gd name="T14" fmla="*/ 26 w 362"/>
                <a:gd name="T15" fmla="*/ 112 h 476"/>
                <a:gd name="T16" fmla="*/ 9 w 362"/>
                <a:gd name="T17" fmla="*/ 149 h 476"/>
                <a:gd name="T18" fmla="*/ 0 w 362"/>
                <a:gd name="T19" fmla="*/ 149 h 476"/>
                <a:gd name="T20" fmla="*/ 13 w 362"/>
                <a:gd name="T21" fmla="*/ 227 h 476"/>
                <a:gd name="T22" fmla="*/ 24 w 362"/>
                <a:gd name="T23" fmla="*/ 286 h 476"/>
                <a:gd name="T24" fmla="*/ 22 w 362"/>
                <a:gd name="T25" fmla="*/ 309 h 476"/>
                <a:gd name="T26" fmla="*/ 11 w 362"/>
                <a:gd name="T27" fmla="*/ 316 h 476"/>
                <a:gd name="T28" fmla="*/ 24 w 362"/>
                <a:gd name="T29" fmla="*/ 338 h 476"/>
                <a:gd name="T30" fmla="*/ 52 w 362"/>
                <a:gd name="T31" fmla="*/ 335 h 476"/>
                <a:gd name="T32" fmla="*/ 50 w 362"/>
                <a:gd name="T33" fmla="*/ 370 h 476"/>
                <a:gd name="T34" fmla="*/ 33 w 362"/>
                <a:gd name="T35" fmla="*/ 385 h 476"/>
                <a:gd name="T36" fmla="*/ 44 w 362"/>
                <a:gd name="T37" fmla="*/ 400 h 476"/>
                <a:gd name="T38" fmla="*/ 81 w 362"/>
                <a:gd name="T39" fmla="*/ 448 h 476"/>
                <a:gd name="T40" fmla="*/ 107 w 362"/>
                <a:gd name="T41" fmla="*/ 474 h 476"/>
                <a:gd name="T42" fmla="*/ 142 w 362"/>
                <a:gd name="T43" fmla="*/ 450 h 476"/>
                <a:gd name="T44" fmla="*/ 168 w 362"/>
                <a:gd name="T45" fmla="*/ 424 h 476"/>
                <a:gd name="T46" fmla="*/ 172 w 362"/>
                <a:gd name="T47" fmla="*/ 403 h 476"/>
                <a:gd name="T48" fmla="*/ 203 w 362"/>
                <a:gd name="T49" fmla="*/ 374 h 476"/>
                <a:gd name="T50" fmla="*/ 224 w 362"/>
                <a:gd name="T51" fmla="*/ 335 h 476"/>
                <a:gd name="T52" fmla="*/ 266 w 362"/>
                <a:gd name="T53" fmla="*/ 314 h 476"/>
                <a:gd name="T54" fmla="*/ 294 w 362"/>
                <a:gd name="T55" fmla="*/ 325 h 476"/>
                <a:gd name="T56" fmla="*/ 303 w 362"/>
                <a:gd name="T57" fmla="*/ 299 h 476"/>
                <a:gd name="T58" fmla="*/ 316 w 362"/>
                <a:gd name="T59" fmla="*/ 268 h 476"/>
                <a:gd name="T60" fmla="*/ 294 w 362"/>
                <a:gd name="T61" fmla="*/ 281 h 476"/>
                <a:gd name="T62" fmla="*/ 231 w 362"/>
                <a:gd name="T63" fmla="*/ 260 h 476"/>
                <a:gd name="T64" fmla="*/ 218 w 362"/>
                <a:gd name="T65" fmla="*/ 249 h 476"/>
                <a:gd name="T66" fmla="*/ 200 w 362"/>
                <a:gd name="T67" fmla="*/ 212 h 476"/>
                <a:gd name="T68" fmla="*/ 209 w 362"/>
                <a:gd name="T69" fmla="*/ 190 h 476"/>
                <a:gd name="T70" fmla="*/ 237 w 362"/>
                <a:gd name="T71" fmla="*/ 171 h 476"/>
                <a:gd name="T72" fmla="*/ 255 w 362"/>
                <a:gd name="T73" fmla="*/ 173 h 476"/>
                <a:gd name="T74" fmla="*/ 270 w 362"/>
                <a:gd name="T75" fmla="*/ 190 h 476"/>
                <a:gd name="T76" fmla="*/ 281 w 362"/>
                <a:gd name="T77" fmla="*/ 227 h 476"/>
                <a:gd name="T78" fmla="*/ 299 w 362"/>
                <a:gd name="T79" fmla="*/ 221 h 476"/>
                <a:gd name="T80" fmla="*/ 312 w 362"/>
                <a:gd name="T81" fmla="*/ 223 h 476"/>
                <a:gd name="T82" fmla="*/ 322 w 362"/>
                <a:gd name="T83" fmla="*/ 229 h 476"/>
                <a:gd name="T84" fmla="*/ 360 w 362"/>
                <a:gd name="T85" fmla="*/ 231 h 476"/>
                <a:gd name="T86" fmla="*/ 346 w 362"/>
                <a:gd name="T87" fmla="*/ 212 h 476"/>
                <a:gd name="T88" fmla="*/ 344 w 362"/>
                <a:gd name="T89" fmla="*/ 197 h 476"/>
                <a:gd name="T90" fmla="*/ 351 w 362"/>
                <a:gd name="T91" fmla="*/ 149 h 476"/>
                <a:gd name="T92" fmla="*/ 312 w 362"/>
                <a:gd name="T93" fmla="*/ 132 h 476"/>
                <a:gd name="T94" fmla="*/ 294 w 362"/>
                <a:gd name="T95" fmla="*/ 119 h 476"/>
                <a:gd name="T96" fmla="*/ 288 w 362"/>
                <a:gd name="T97" fmla="*/ 99 h 476"/>
                <a:gd name="T98" fmla="*/ 268 w 362"/>
                <a:gd name="T99" fmla="*/ 101 h 476"/>
                <a:gd name="T100" fmla="*/ 261 w 362"/>
                <a:gd name="T101" fmla="*/ 91 h 476"/>
                <a:gd name="T102" fmla="*/ 257 w 362"/>
                <a:gd name="T103" fmla="*/ 65 h 476"/>
                <a:gd name="T104" fmla="*/ 237 w 362"/>
                <a:gd name="T105" fmla="*/ 58 h 476"/>
                <a:gd name="T106" fmla="*/ 192 w 362"/>
                <a:gd name="T107" fmla="*/ 32 h 476"/>
                <a:gd name="T108" fmla="*/ 172 w 362"/>
                <a:gd name="T109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2" h="476">
                  <a:moveTo>
                    <a:pt x="172" y="0"/>
                  </a:moveTo>
                  <a:lnTo>
                    <a:pt x="152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33" y="19"/>
                  </a:lnTo>
                  <a:lnTo>
                    <a:pt x="129" y="47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94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54" y="54"/>
                  </a:lnTo>
                  <a:lnTo>
                    <a:pt x="52" y="75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91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0" y="117"/>
                  </a:lnTo>
                  <a:lnTo>
                    <a:pt x="63" y="125"/>
                  </a:lnTo>
                  <a:lnTo>
                    <a:pt x="63" y="127"/>
                  </a:lnTo>
                  <a:lnTo>
                    <a:pt x="61" y="125"/>
                  </a:lnTo>
                  <a:lnTo>
                    <a:pt x="39" y="112"/>
                  </a:lnTo>
                  <a:lnTo>
                    <a:pt x="26" y="11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6" y="149"/>
                  </a:lnTo>
                  <a:lnTo>
                    <a:pt x="0" y="149"/>
                  </a:lnTo>
                  <a:lnTo>
                    <a:pt x="0" y="210"/>
                  </a:lnTo>
                  <a:lnTo>
                    <a:pt x="13" y="227"/>
                  </a:lnTo>
                  <a:lnTo>
                    <a:pt x="13" y="227"/>
                  </a:lnTo>
                  <a:lnTo>
                    <a:pt x="13" y="229"/>
                  </a:lnTo>
                  <a:lnTo>
                    <a:pt x="13" y="275"/>
                  </a:lnTo>
                  <a:lnTo>
                    <a:pt x="24" y="286"/>
                  </a:lnTo>
                  <a:lnTo>
                    <a:pt x="24" y="288"/>
                  </a:lnTo>
                  <a:lnTo>
                    <a:pt x="24" y="288"/>
                  </a:lnTo>
                  <a:lnTo>
                    <a:pt x="22" y="309"/>
                  </a:lnTo>
                  <a:lnTo>
                    <a:pt x="22" y="312"/>
                  </a:lnTo>
                  <a:lnTo>
                    <a:pt x="22" y="312"/>
                  </a:lnTo>
                  <a:lnTo>
                    <a:pt x="11" y="316"/>
                  </a:lnTo>
                  <a:lnTo>
                    <a:pt x="15" y="344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24" y="338"/>
                  </a:lnTo>
                  <a:lnTo>
                    <a:pt x="50" y="335"/>
                  </a:lnTo>
                  <a:lnTo>
                    <a:pt x="52" y="335"/>
                  </a:lnTo>
                  <a:lnTo>
                    <a:pt x="52" y="338"/>
                  </a:lnTo>
                  <a:lnTo>
                    <a:pt x="50" y="370"/>
                  </a:lnTo>
                  <a:lnTo>
                    <a:pt x="50" y="370"/>
                  </a:lnTo>
                  <a:lnTo>
                    <a:pt x="50" y="372"/>
                  </a:lnTo>
                  <a:lnTo>
                    <a:pt x="33" y="377"/>
                  </a:lnTo>
                  <a:lnTo>
                    <a:pt x="33" y="385"/>
                  </a:lnTo>
                  <a:lnTo>
                    <a:pt x="44" y="398"/>
                  </a:lnTo>
                  <a:lnTo>
                    <a:pt x="46" y="400"/>
                  </a:lnTo>
                  <a:lnTo>
                    <a:pt x="44" y="400"/>
                  </a:lnTo>
                  <a:lnTo>
                    <a:pt x="26" y="420"/>
                  </a:lnTo>
                  <a:lnTo>
                    <a:pt x="35" y="437"/>
                  </a:lnTo>
                  <a:lnTo>
                    <a:pt x="81" y="448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107" y="474"/>
                  </a:lnTo>
                  <a:lnTo>
                    <a:pt x="131" y="476"/>
                  </a:lnTo>
                  <a:lnTo>
                    <a:pt x="142" y="450"/>
                  </a:lnTo>
                  <a:lnTo>
                    <a:pt x="142" y="450"/>
                  </a:lnTo>
                  <a:lnTo>
                    <a:pt x="144" y="450"/>
                  </a:lnTo>
                  <a:lnTo>
                    <a:pt x="166" y="444"/>
                  </a:lnTo>
                  <a:lnTo>
                    <a:pt x="168" y="424"/>
                  </a:lnTo>
                  <a:lnTo>
                    <a:pt x="170" y="405"/>
                  </a:lnTo>
                  <a:lnTo>
                    <a:pt x="170" y="403"/>
                  </a:lnTo>
                  <a:lnTo>
                    <a:pt x="172" y="403"/>
                  </a:lnTo>
                  <a:lnTo>
                    <a:pt x="198" y="396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03" y="374"/>
                  </a:lnTo>
                  <a:lnTo>
                    <a:pt x="224" y="335"/>
                  </a:lnTo>
                  <a:lnTo>
                    <a:pt x="224" y="335"/>
                  </a:lnTo>
                  <a:lnTo>
                    <a:pt x="227" y="335"/>
                  </a:lnTo>
                  <a:lnTo>
                    <a:pt x="264" y="314"/>
                  </a:lnTo>
                  <a:lnTo>
                    <a:pt x="266" y="314"/>
                  </a:lnTo>
                  <a:lnTo>
                    <a:pt x="266" y="314"/>
                  </a:lnTo>
                  <a:lnTo>
                    <a:pt x="285" y="325"/>
                  </a:lnTo>
                  <a:lnTo>
                    <a:pt x="294" y="325"/>
                  </a:lnTo>
                  <a:lnTo>
                    <a:pt x="301" y="301"/>
                  </a:lnTo>
                  <a:lnTo>
                    <a:pt x="301" y="299"/>
                  </a:lnTo>
                  <a:lnTo>
                    <a:pt x="303" y="299"/>
                  </a:lnTo>
                  <a:lnTo>
                    <a:pt x="320" y="292"/>
                  </a:lnTo>
                  <a:lnTo>
                    <a:pt x="331" y="283"/>
                  </a:lnTo>
                  <a:lnTo>
                    <a:pt x="316" y="268"/>
                  </a:lnTo>
                  <a:lnTo>
                    <a:pt x="307" y="273"/>
                  </a:lnTo>
                  <a:lnTo>
                    <a:pt x="294" y="281"/>
                  </a:lnTo>
                  <a:lnTo>
                    <a:pt x="294" y="281"/>
                  </a:lnTo>
                  <a:lnTo>
                    <a:pt x="292" y="281"/>
                  </a:lnTo>
                  <a:lnTo>
                    <a:pt x="233" y="262"/>
                  </a:lnTo>
                  <a:lnTo>
                    <a:pt x="231" y="260"/>
                  </a:lnTo>
                  <a:lnTo>
                    <a:pt x="231" y="260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18" y="249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9" y="190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37" y="171"/>
                  </a:lnTo>
                  <a:lnTo>
                    <a:pt x="237" y="171"/>
                  </a:lnTo>
                  <a:lnTo>
                    <a:pt x="240" y="171"/>
                  </a:lnTo>
                  <a:lnTo>
                    <a:pt x="255" y="173"/>
                  </a:lnTo>
                  <a:lnTo>
                    <a:pt x="255" y="173"/>
                  </a:lnTo>
                  <a:lnTo>
                    <a:pt x="257" y="173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190"/>
                  </a:lnTo>
                  <a:lnTo>
                    <a:pt x="270" y="218"/>
                  </a:lnTo>
                  <a:lnTo>
                    <a:pt x="281" y="227"/>
                  </a:lnTo>
                  <a:lnTo>
                    <a:pt x="296" y="221"/>
                  </a:lnTo>
                  <a:lnTo>
                    <a:pt x="296" y="221"/>
                  </a:lnTo>
                  <a:lnTo>
                    <a:pt x="299" y="221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12" y="223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22" y="229"/>
                  </a:lnTo>
                  <a:lnTo>
                    <a:pt x="344" y="251"/>
                  </a:lnTo>
                  <a:lnTo>
                    <a:pt x="353" y="244"/>
                  </a:lnTo>
                  <a:lnTo>
                    <a:pt x="360" y="231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6" y="212"/>
                  </a:lnTo>
                  <a:lnTo>
                    <a:pt x="344" y="199"/>
                  </a:lnTo>
                  <a:lnTo>
                    <a:pt x="344" y="197"/>
                  </a:lnTo>
                  <a:lnTo>
                    <a:pt x="344" y="197"/>
                  </a:lnTo>
                  <a:lnTo>
                    <a:pt x="360" y="171"/>
                  </a:lnTo>
                  <a:lnTo>
                    <a:pt x="362" y="151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312" y="132"/>
                  </a:lnTo>
                  <a:lnTo>
                    <a:pt x="294" y="119"/>
                  </a:lnTo>
                  <a:lnTo>
                    <a:pt x="294" y="119"/>
                  </a:lnTo>
                  <a:lnTo>
                    <a:pt x="294" y="117"/>
                  </a:lnTo>
                  <a:lnTo>
                    <a:pt x="288" y="99"/>
                  </a:lnTo>
                  <a:lnTo>
                    <a:pt x="272" y="104"/>
                  </a:lnTo>
                  <a:lnTo>
                    <a:pt x="270" y="104"/>
                  </a:lnTo>
                  <a:lnTo>
                    <a:pt x="268" y="101"/>
                  </a:lnTo>
                  <a:lnTo>
                    <a:pt x="261" y="93"/>
                  </a:lnTo>
                  <a:lnTo>
                    <a:pt x="261" y="93"/>
                  </a:lnTo>
                  <a:lnTo>
                    <a:pt x="261" y="91"/>
                  </a:lnTo>
                  <a:lnTo>
                    <a:pt x="259" y="73"/>
                  </a:lnTo>
                  <a:lnTo>
                    <a:pt x="259" y="73"/>
                  </a:lnTo>
                  <a:lnTo>
                    <a:pt x="257" y="65"/>
                  </a:lnTo>
                  <a:lnTo>
                    <a:pt x="237" y="60"/>
                  </a:lnTo>
                  <a:lnTo>
                    <a:pt x="237" y="58"/>
                  </a:lnTo>
                  <a:lnTo>
                    <a:pt x="237" y="58"/>
                  </a:lnTo>
                  <a:lnTo>
                    <a:pt x="235" y="34"/>
                  </a:lnTo>
                  <a:lnTo>
                    <a:pt x="194" y="32"/>
                  </a:lnTo>
                  <a:lnTo>
                    <a:pt x="192" y="32"/>
                  </a:lnTo>
                  <a:lnTo>
                    <a:pt x="192" y="30"/>
                  </a:lnTo>
                  <a:lnTo>
                    <a:pt x="192" y="0"/>
                  </a:lnTo>
                  <a:lnTo>
                    <a:pt x="172" y="0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23">
              <a:extLst>
                <a:ext uri="{FF2B5EF4-FFF2-40B4-BE49-F238E27FC236}">
                  <a16:creationId xmlns:a16="http://schemas.microsoft.com/office/drawing/2014/main" xmlns="" id="{4610E05C-0C1F-4E70-B81F-EE781FD71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9" y="1996"/>
              <a:ext cx="425" cy="466"/>
            </a:xfrm>
            <a:custGeom>
              <a:avLst/>
              <a:gdLst>
                <a:gd name="T0" fmla="*/ 360 w 425"/>
                <a:gd name="T1" fmla="*/ 202 h 466"/>
                <a:gd name="T2" fmla="*/ 357 w 425"/>
                <a:gd name="T3" fmla="*/ 202 h 466"/>
                <a:gd name="T4" fmla="*/ 251 w 425"/>
                <a:gd name="T5" fmla="*/ 202 h 466"/>
                <a:gd name="T6" fmla="*/ 248 w 425"/>
                <a:gd name="T7" fmla="*/ 202 h 466"/>
                <a:gd name="T8" fmla="*/ 235 w 425"/>
                <a:gd name="T9" fmla="*/ 191 h 466"/>
                <a:gd name="T10" fmla="*/ 235 w 425"/>
                <a:gd name="T11" fmla="*/ 141 h 466"/>
                <a:gd name="T12" fmla="*/ 227 w 425"/>
                <a:gd name="T13" fmla="*/ 126 h 466"/>
                <a:gd name="T14" fmla="*/ 292 w 425"/>
                <a:gd name="T15" fmla="*/ 52 h 466"/>
                <a:gd name="T16" fmla="*/ 270 w 425"/>
                <a:gd name="T17" fmla="*/ 0 h 466"/>
                <a:gd name="T18" fmla="*/ 209 w 425"/>
                <a:gd name="T19" fmla="*/ 29 h 466"/>
                <a:gd name="T20" fmla="*/ 209 w 425"/>
                <a:gd name="T21" fmla="*/ 29 h 466"/>
                <a:gd name="T22" fmla="*/ 172 w 425"/>
                <a:gd name="T23" fmla="*/ 37 h 466"/>
                <a:gd name="T24" fmla="*/ 196 w 425"/>
                <a:gd name="T25" fmla="*/ 61 h 466"/>
                <a:gd name="T26" fmla="*/ 166 w 425"/>
                <a:gd name="T27" fmla="*/ 91 h 466"/>
                <a:gd name="T28" fmla="*/ 153 w 425"/>
                <a:gd name="T29" fmla="*/ 107 h 466"/>
                <a:gd name="T30" fmla="*/ 150 w 425"/>
                <a:gd name="T31" fmla="*/ 152 h 466"/>
                <a:gd name="T32" fmla="*/ 81 w 425"/>
                <a:gd name="T33" fmla="*/ 150 h 466"/>
                <a:gd name="T34" fmla="*/ 70 w 425"/>
                <a:gd name="T35" fmla="*/ 195 h 466"/>
                <a:gd name="T36" fmla="*/ 70 w 425"/>
                <a:gd name="T37" fmla="*/ 195 h 466"/>
                <a:gd name="T38" fmla="*/ 89 w 425"/>
                <a:gd name="T39" fmla="*/ 222 h 466"/>
                <a:gd name="T40" fmla="*/ 78 w 425"/>
                <a:gd name="T41" fmla="*/ 237 h 466"/>
                <a:gd name="T42" fmla="*/ 78 w 425"/>
                <a:gd name="T43" fmla="*/ 237 h 466"/>
                <a:gd name="T44" fmla="*/ 54 w 425"/>
                <a:gd name="T45" fmla="*/ 248 h 466"/>
                <a:gd name="T46" fmla="*/ 24 w 425"/>
                <a:gd name="T47" fmla="*/ 226 h 466"/>
                <a:gd name="T48" fmla="*/ 4 w 425"/>
                <a:gd name="T49" fmla="*/ 284 h 466"/>
                <a:gd name="T50" fmla="*/ 76 w 425"/>
                <a:gd name="T51" fmla="*/ 306 h 466"/>
                <a:gd name="T52" fmla="*/ 78 w 425"/>
                <a:gd name="T53" fmla="*/ 306 h 466"/>
                <a:gd name="T54" fmla="*/ 102 w 425"/>
                <a:gd name="T55" fmla="*/ 332 h 466"/>
                <a:gd name="T56" fmla="*/ 111 w 425"/>
                <a:gd name="T57" fmla="*/ 352 h 466"/>
                <a:gd name="T58" fmla="*/ 111 w 425"/>
                <a:gd name="T59" fmla="*/ 354 h 466"/>
                <a:gd name="T60" fmla="*/ 113 w 425"/>
                <a:gd name="T61" fmla="*/ 393 h 466"/>
                <a:gd name="T62" fmla="*/ 113 w 425"/>
                <a:gd name="T63" fmla="*/ 458 h 466"/>
                <a:gd name="T64" fmla="*/ 129 w 425"/>
                <a:gd name="T65" fmla="*/ 430 h 466"/>
                <a:gd name="T66" fmla="*/ 131 w 425"/>
                <a:gd name="T67" fmla="*/ 430 h 466"/>
                <a:gd name="T68" fmla="*/ 181 w 425"/>
                <a:gd name="T69" fmla="*/ 367 h 466"/>
                <a:gd name="T70" fmla="*/ 183 w 425"/>
                <a:gd name="T71" fmla="*/ 367 h 466"/>
                <a:gd name="T72" fmla="*/ 200 w 425"/>
                <a:gd name="T73" fmla="*/ 367 h 466"/>
                <a:gd name="T74" fmla="*/ 218 w 425"/>
                <a:gd name="T75" fmla="*/ 375 h 466"/>
                <a:gd name="T76" fmla="*/ 244 w 425"/>
                <a:gd name="T77" fmla="*/ 341 h 466"/>
                <a:gd name="T78" fmla="*/ 244 w 425"/>
                <a:gd name="T79" fmla="*/ 326 h 466"/>
                <a:gd name="T80" fmla="*/ 283 w 425"/>
                <a:gd name="T81" fmla="*/ 328 h 466"/>
                <a:gd name="T82" fmla="*/ 285 w 425"/>
                <a:gd name="T83" fmla="*/ 328 h 466"/>
                <a:gd name="T84" fmla="*/ 322 w 425"/>
                <a:gd name="T85" fmla="*/ 345 h 466"/>
                <a:gd name="T86" fmla="*/ 325 w 425"/>
                <a:gd name="T87" fmla="*/ 345 h 466"/>
                <a:gd name="T88" fmla="*/ 349 w 425"/>
                <a:gd name="T89" fmla="*/ 369 h 466"/>
                <a:gd name="T90" fmla="*/ 379 w 425"/>
                <a:gd name="T91" fmla="*/ 330 h 466"/>
                <a:gd name="T92" fmla="*/ 364 w 425"/>
                <a:gd name="T93" fmla="*/ 317 h 466"/>
                <a:gd name="T94" fmla="*/ 364 w 425"/>
                <a:gd name="T95" fmla="*/ 293 h 466"/>
                <a:gd name="T96" fmla="*/ 366 w 425"/>
                <a:gd name="T97" fmla="*/ 291 h 466"/>
                <a:gd name="T98" fmla="*/ 423 w 425"/>
                <a:gd name="T99" fmla="*/ 235 h 466"/>
                <a:gd name="T100" fmla="*/ 388 w 425"/>
                <a:gd name="T101" fmla="*/ 189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25" h="466">
                  <a:moveTo>
                    <a:pt x="388" y="189"/>
                  </a:moveTo>
                  <a:lnTo>
                    <a:pt x="360" y="202"/>
                  </a:lnTo>
                  <a:lnTo>
                    <a:pt x="357" y="202"/>
                  </a:lnTo>
                  <a:lnTo>
                    <a:pt x="357" y="202"/>
                  </a:lnTo>
                  <a:lnTo>
                    <a:pt x="277" y="172"/>
                  </a:lnTo>
                  <a:lnTo>
                    <a:pt x="251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35" y="191"/>
                  </a:lnTo>
                  <a:lnTo>
                    <a:pt x="235" y="191"/>
                  </a:lnTo>
                  <a:lnTo>
                    <a:pt x="235" y="189"/>
                  </a:lnTo>
                  <a:lnTo>
                    <a:pt x="235" y="141"/>
                  </a:lnTo>
                  <a:lnTo>
                    <a:pt x="227" y="126"/>
                  </a:lnTo>
                  <a:lnTo>
                    <a:pt x="227" y="126"/>
                  </a:lnTo>
                  <a:lnTo>
                    <a:pt x="229" y="124"/>
                  </a:lnTo>
                  <a:lnTo>
                    <a:pt x="292" y="52"/>
                  </a:lnTo>
                  <a:lnTo>
                    <a:pt x="290" y="22"/>
                  </a:lnTo>
                  <a:lnTo>
                    <a:pt x="270" y="0"/>
                  </a:lnTo>
                  <a:lnTo>
                    <a:pt x="246" y="5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176" y="26"/>
                  </a:lnTo>
                  <a:lnTo>
                    <a:pt x="172" y="37"/>
                  </a:lnTo>
                  <a:lnTo>
                    <a:pt x="194" y="59"/>
                  </a:lnTo>
                  <a:lnTo>
                    <a:pt x="196" y="61"/>
                  </a:lnTo>
                  <a:lnTo>
                    <a:pt x="194" y="63"/>
                  </a:lnTo>
                  <a:lnTo>
                    <a:pt x="166" y="91"/>
                  </a:lnTo>
                  <a:lnTo>
                    <a:pt x="166" y="91"/>
                  </a:lnTo>
                  <a:lnTo>
                    <a:pt x="153" y="107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48" y="152"/>
                  </a:lnTo>
                  <a:lnTo>
                    <a:pt x="81" y="150"/>
                  </a:lnTo>
                  <a:lnTo>
                    <a:pt x="52" y="178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9" y="224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78" y="23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2" y="245"/>
                  </a:lnTo>
                  <a:lnTo>
                    <a:pt x="24" y="226"/>
                  </a:lnTo>
                  <a:lnTo>
                    <a:pt x="0" y="261"/>
                  </a:lnTo>
                  <a:lnTo>
                    <a:pt x="4" y="284"/>
                  </a:lnTo>
                  <a:lnTo>
                    <a:pt x="17" y="295"/>
                  </a:lnTo>
                  <a:lnTo>
                    <a:pt x="76" y="306"/>
                  </a:lnTo>
                  <a:lnTo>
                    <a:pt x="78" y="306"/>
                  </a:lnTo>
                  <a:lnTo>
                    <a:pt x="78" y="306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02" y="332"/>
                  </a:lnTo>
                  <a:lnTo>
                    <a:pt x="111" y="352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393"/>
                  </a:lnTo>
                  <a:lnTo>
                    <a:pt x="113" y="458"/>
                  </a:lnTo>
                  <a:lnTo>
                    <a:pt x="115" y="466"/>
                  </a:lnTo>
                  <a:lnTo>
                    <a:pt x="129" y="430"/>
                  </a:lnTo>
                  <a:lnTo>
                    <a:pt x="131" y="430"/>
                  </a:lnTo>
                  <a:lnTo>
                    <a:pt x="131" y="430"/>
                  </a:lnTo>
                  <a:lnTo>
                    <a:pt x="163" y="423"/>
                  </a:lnTo>
                  <a:lnTo>
                    <a:pt x="181" y="367"/>
                  </a:lnTo>
                  <a:lnTo>
                    <a:pt x="181" y="367"/>
                  </a:lnTo>
                  <a:lnTo>
                    <a:pt x="183" y="367"/>
                  </a:lnTo>
                  <a:lnTo>
                    <a:pt x="198" y="367"/>
                  </a:lnTo>
                  <a:lnTo>
                    <a:pt x="200" y="367"/>
                  </a:lnTo>
                  <a:lnTo>
                    <a:pt x="200" y="367"/>
                  </a:lnTo>
                  <a:lnTo>
                    <a:pt x="218" y="375"/>
                  </a:lnTo>
                  <a:lnTo>
                    <a:pt x="242" y="358"/>
                  </a:lnTo>
                  <a:lnTo>
                    <a:pt x="244" y="341"/>
                  </a:lnTo>
                  <a:lnTo>
                    <a:pt x="244" y="328"/>
                  </a:lnTo>
                  <a:lnTo>
                    <a:pt x="244" y="326"/>
                  </a:lnTo>
                  <a:lnTo>
                    <a:pt x="246" y="326"/>
                  </a:lnTo>
                  <a:lnTo>
                    <a:pt x="283" y="328"/>
                  </a:lnTo>
                  <a:lnTo>
                    <a:pt x="283" y="328"/>
                  </a:lnTo>
                  <a:lnTo>
                    <a:pt x="285" y="328"/>
                  </a:lnTo>
                  <a:lnTo>
                    <a:pt x="307" y="347"/>
                  </a:lnTo>
                  <a:lnTo>
                    <a:pt x="322" y="345"/>
                  </a:lnTo>
                  <a:lnTo>
                    <a:pt x="325" y="345"/>
                  </a:lnTo>
                  <a:lnTo>
                    <a:pt x="325" y="345"/>
                  </a:lnTo>
                  <a:lnTo>
                    <a:pt x="338" y="360"/>
                  </a:lnTo>
                  <a:lnTo>
                    <a:pt x="349" y="369"/>
                  </a:lnTo>
                  <a:lnTo>
                    <a:pt x="366" y="349"/>
                  </a:lnTo>
                  <a:lnTo>
                    <a:pt x="379" y="330"/>
                  </a:lnTo>
                  <a:lnTo>
                    <a:pt x="364" y="317"/>
                  </a:lnTo>
                  <a:lnTo>
                    <a:pt x="364" y="317"/>
                  </a:lnTo>
                  <a:lnTo>
                    <a:pt x="364" y="315"/>
                  </a:lnTo>
                  <a:lnTo>
                    <a:pt x="364" y="293"/>
                  </a:lnTo>
                  <a:lnTo>
                    <a:pt x="364" y="293"/>
                  </a:lnTo>
                  <a:lnTo>
                    <a:pt x="366" y="291"/>
                  </a:lnTo>
                  <a:lnTo>
                    <a:pt x="425" y="267"/>
                  </a:lnTo>
                  <a:lnTo>
                    <a:pt x="423" y="235"/>
                  </a:lnTo>
                  <a:lnTo>
                    <a:pt x="388" y="189"/>
                  </a:lnTo>
                  <a:lnTo>
                    <a:pt x="388" y="1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24">
              <a:extLst>
                <a:ext uri="{FF2B5EF4-FFF2-40B4-BE49-F238E27FC236}">
                  <a16:creationId xmlns:a16="http://schemas.microsoft.com/office/drawing/2014/main" xmlns="" id="{D4E4E916-EF05-48A8-BAF5-40F54243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7" y="1535"/>
              <a:ext cx="24" cy="22"/>
            </a:xfrm>
            <a:custGeom>
              <a:avLst/>
              <a:gdLst>
                <a:gd name="T0" fmla="*/ 4 w 24"/>
                <a:gd name="T1" fmla="*/ 19 h 22"/>
                <a:gd name="T2" fmla="*/ 19 w 24"/>
                <a:gd name="T3" fmla="*/ 22 h 22"/>
                <a:gd name="T4" fmla="*/ 24 w 24"/>
                <a:gd name="T5" fmla="*/ 11 h 22"/>
                <a:gd name="T6" fmla="*/ 13 w 24"/>
                <a:gd name="T7" fmla="*/ 0 h 22"/>
                <a:gd name="T8" fmla="*/ 0 w 24"/>
                <a:gd name="T9" fmla="*/ 4 h 22"/>
                <a:gd name="T10" fmla="*/ 4 w 24"/>
                <a:gd name="T11" fmla="*/ 19 h 22"/>
                <a:gd name="T12" fmla="*/ 4 w 24"/>
                <a:gd name="T1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2">
                  <a:moveTo>
                    <a:pt x="4" y="19"/>
                  </a:moveTo>
                  <a:lnTo>
                    <a:pt x="19" y="22"/>
                  </a:lnTo>
                  <a:lnTo>
                    <a:pt x="24" y="11"/>
                  </a:lnTo>
                  <a:lnTo>
                    <a:pt x="13" y="0"/>
                  </a:lnTo>
                  <a:lnTo>
                    <a:pt x="0" y="4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25">
              <a:extLst>
                <a:ext uri="{FF2B5EF4-FFF2-40B4-BE49-F238E27FC236}">
                  <a16:creationId xmlns:a16="http://schemas.microsoft.com/office/drawing/2014/main" xmlns="" id="{B7A09043-E553-4608-B3D6-CEBBAC59EF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1" y="1611"/>
              <a:ext cx="39" cy="32"/>
            </a:xfrm>
            <a:custGeom>
              <a:avLst/>
              <a:gdLst>
                <a:gd name="T0" fmla="*/ 0 w 39"/>
                <a:gd name="T1" fmla="*/ 26 h 32"/>
                <a:gd name="T2" fmla="*/ 20 w 39"/>
                <a:gd name="T3" fmla="*/ 32 h 32"/>
                <a:gd name="T4" fmla="*/ 39 w 39"/>
                <a:gd name="T5" fmla="*/ 30 h 32"/>
                <a:gd name="T6" fmla="*/ 31 w 39"/>
                <a:gd name="T7" fmla="*/ 0 h 32"/>
                <a:gd name="T8" fmla="*/ 7 w 39"/>
                <a:gd name="T9" fmla="*/ 13 h 32"/>
                <a:gd name="T10" fmla="*/ 0 w 39"/>
                <a:gd name="T11" fmla="*/ 26 h 32"/>
                <a:gd name="T12" fmla="*/ 0 w 39"/>
                <a:gd name="T13" fmla="*/ 2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2">
                  <a:moveTo>
                    <a:pt x="0" y="26"/>
                  </a:moveTo>
                  <a:lnTo>
                    <a:pt x="20" y="32"/>
                  </a:lnTo>
                  <a:lnTo>
                    <a:pt x="39" y="30"/>
                  </a:lnTo>
                  <a:lnTo>
                    <a:pt x="31" y="0"/>
                  </a:lnTo>
                  <a:lnTo>
                    <a:pt x="7" y="13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26">
              <a:extLst>
                <a:ext uri="{FF2B5EF4-FFF2-40B4-BE49-F238E27FC236}">
                  <a16:creationId xmlns:a16="http://schemas.microsoft.com/office/drawing/2014/main" xmlns="" id="{F61B5A1A-88D2-45A6-9D7F-EBFD9233F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1" y="1457"/>
              <a:ext cx="861" cy="1159"/>
            </a:xfrm>
            <a:custGeom>
              <a:avLst/>
              <a:gdLst>
                <a:gd name="T0" fmla="*/ 761 w 861"/>
                <a:gd name="T1" fmla="*/ 236 h 1159"/>
                <a:gd name="T2" fmla="*/ 752 w 861"/>
                <a:gd name="T3" fmla="*/ 279 h 1159"/>
                <a:gd name="T4" fmla="*/ 680 w 861"/>
                <a:gd name="T5" fmla="*/ 212 h 1159"/>
                <a:gd name="T6" fmla="*/ 702 w 861"/>
                <a:gd name="T7" fmla="*/ 121 h 1159"/>
                <a:gd name="T8" fmla="*/ 641 w 861"/>
                <a:gd name="T9" fmla="*/ 188 h 1159"/>
                <a:gd name="T10" fmla="*/ 565 w 861"/>
                <a:gd name="T11" fmla="*/ 399 h 1159"/>
                <a:gd name="T12" fmla="*/ 672 w 861"/>
                <a:gd name="T13" fmla="*/ 507 h 1159"/>
                <a:gd name="T14" fmla="*/ 648 w 861"/>
                <a:gd name="T15" fmla="*/ 617 h 1159"/>
                <a:gd name="T16" fmla="*/ 611 w 861"/>
                <a:gd name="T17" fmla="*/ 594 h 1159"/>
                <a:gd name="T18" fmla="*/ 576 w 861"/>
                <a:gd name="T19" fmla="*/ 474 h 1159"/>
                <a:gd name="T20" fmla="*/ 491 w 861"/>
                <a:gd name="T21" fmla="*/ 622 h 1159"/>
                <a:gd name="T22" fmla="*/ 306 w 861"/>
                <a:gd name="T23" fmla="*/ 609 h 1159"/>
                <a:gd name="T24" fmla="*/ 415 w 861"/>
                <a:gd name="T25" fmla="*/ 594 h 1159"/>
                <a:gd name="T26" fmla="*/ 508 w 861"/>
                <a:gd name="T27" fmla="*/ 431 h 1159"/>
                <a:gd name="T28" fmla="*/ 578 w 861"/>
                <a:gd name="T29" fmla="*/ 201 h 1159"/>
                <a:gd name="T30" fmla="*/ 598 w 861"/>
                <a:gd name="T31" fmla="*/ 52 h 1159"/>
                <a:gd name="T32" fmla="*/ 591 w 861"/>
                <a:gd name="T33" fmla="*/ 0 h 1159"/>
                <a:gd name="T34" fmla="*/ 574 w 861"/>
                <a:gd name="T35" fmla="*/ 43 h 1159"/>
                <a:gd name="T36" fmla="*/ 467 w 861"/>
                <a:gd name="T37" fmla="*/ 152 h 1159"/>
                <a:gd name="T38" fmla="*/ 419 w 861"/>
                <a:gd name="T39" fmla="*/ 219 h 1159"/>
                <a:gd name="T40" fmla="*/ 354 w 861"/>
                <a:gd name="T41" fmla="*/ 297 h 1159"/>
                <a:gd name="T42" fmla="*/ 382 w 861"/>
                <a:gd name="T43" fmla="*/ 381 h 1159"/>
                <a:gd name="T44" fmla="*/ 338 w 861"/>
                <a:gd name="T45" fmla="*/ 416 h 1159"/>
                <a:gd name="T46" fmla="*/ 255 w 861"/>
                <a:gd name="T47" fmla="*/ 318 h 1159"/>
                <a:gd name="T48" fmla="*/ 271 w 861"/>
                <a:gd name="T49" fmla="*/ 347 h 1159"/>
                <a:gd name="T50" fmla="*/ 253 w 861"/>
                <a:gd name="T51" fmla="*/ 442 h 1159"/>
                <a:gd name="T52" fmla="*/ 231 w 861"/>
                <a:gd name="T53" fmla="*/ 472 h 1159"/>
                <a:gd name="T54" fmla="*/ 179 w 861"/>
                <a:gd name="T55" fmla="*/ 507 h 1159"/>
                <a:gd name="T56" fmla="*/ 101 w 861"/>
                <a:gd name="T57" fmla="*/ 511 h 1159"/>
                <a:gd name="T58" fmla="*/ 59 w 861"/>
                <a:gd name="T59" fmla="*/ 546 h 1159"/>
                <a:gd name="T60" fmla="*/ 31 w 861"/>
                <a:gd name="T61" fmla="*/ 613 h 1159"/>
                <a:gd name="T62" fmla="*/ 20 w 861"/>
                <a:gd name="T63" fmla="*/ 698 h 1159"/>
                <a:gd name="T64" fmla="*/ 96 w 861"/>
                <a:gd name="T65" fmla="*/ 704 h 1159"/>
                <a:gd name="T66" fmla="*/ 133 w 861"/>
                <a:gd name="T67" fmla="*/ 732 h 1159"/>
                <a:gd name="T68" fmla="*/ 234 w 861"/>
                <a:gd name="T69" fmla="*/ 784 h 1159"/>
                <a:gd name="T70" fmla="*/ 262 w 861"/>
                <a:gd name="T71" fmla="*/ 819 h 1159"/>
                <a:gd name="T72" fmla="*/ 264 w 861"/>
                <a:gd name="T73" fmla="*/ 875 h 1159"/>
                <a:gd name="T74" fmla="*/ 279 w 861"/>
                <a:gd name="T75" fmla="*/ 897 h 1159"/>
                <a:gd name="T76" fmla="*/ 336 w 861"/>
                <a:gd name="T77" fmla="*/ 932 h 1159"/>
                <a:gd name="T78" fmla="*/ 460 w 861"/>
                <a:gd name="T79" fmla="*/ 1012 h 1159"/>
                <a:gd name="T80" fmla="*/ 489 w 861"/>
                <a:gd name="T81" fmla="*/ 1055 h 1159"/>
                <a:gd name="T82" fmla="*/ 622 w 861"/>
                <a:gd name="T83" fmla="*/ 1060 h 1159"/>
                <a:gd name="T84" fmla="*/ 659 w 861"/>
                <a:gd name="T85" fmla="*/ 1092 h 1159"/>
                <a:gd name="T86" fmla="*/ 698 w 861"/>
                <a:gd name="T87" fmla="*/ 1092 h 1159"/>
                <a:gd name="T88" fmla="*/ 739 w 861"/>
                <a:gd name="T89" fmla="*/ 1133 h 1159"/>
                <a:gd name="T90" fmla="*/ 820 w 861"/>
                <a:gd name="T91" fmla="*/ 1092 h 1159"/>
                <a:gd name="T92" fmla="*/ 824 w 861"/>
                <a:gd name="T93" fmla="*/ 1047 h 1159"/>
                <a:gd name="T94" fmla="*/ 813 w 861"/>
                <a:gd name="T95" fmla="*/ 927 h 1159"/>
                <a:gd name="T96" fmla="*/ 822 w 861"/>
                <a:gd name="T97" fmla="*/ 867 h 1159"/>
                <a:gd name="T98" fmla="*/ 794 w 861"/>
                <a:gd name="T99" fmla="*/ 828 h 1159"/>
                <a:gd name="T100" fmla="*/ 768 w 861"/>
                <a:gd name="T101" fmla="*/ 704 h 1159"/>
                <a:gd name="T102" fmla="*/ 770 w 861"/>
                <a:gd name="T103" fmla="*/ 630 h 1159"/>
                <a:gd name="T104" fmla="*/ 813 w 861"/>
                <a:gd name="T105" fmla="*/ 615 h 1159"/>
                <a:gd name="T106" fmla="*/ 776 w 861"/>
                <a:gd name="T107" fmla="*/ 500 h 1159"/>
                <a:gd name="T108" fmla="*/ 733 w 861"/>
                <a:gd name="T109" fmla="*/ 444 h 1159"/>
                <a:gd name="T110" fmla="*/ 741 w 861"/>
                <a:gd name="T111" fmla="*/ 409 h 1159"/>
                <a:gd name="T112" fmla="*/ 807 w 861"/>
                <a:gd name="T113" fmla="*/ 379 h 1159"/>
                <a:gd name="T114" fmla="*/ 785 w 861"/>
                <a:gd name="T115" fmla="*/ 297 h 1159"/>
                <a:gd name="T116" fmla="*/ 792 w 861"/>
                <a:gd name="T117" fmla="*/ 258 h 1159"/>
                <a:gd name="T118" fmla="*/ 796 w 861"/>
                <a:gd name="T119" fmla="*/ 199 h 1159"/>
                <a:gd name="T120" fmla="*/ 796 w 861"/>
                <a:gd name="T121" fmla="*/ 193 h 1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61" h="1159">
                  <a:moveTo>
                    <a:pt x="796" y="193"/>
                  </a:moveTo>
                  <a:lnTo>
                    <a:pt x="772" y="195"/>
                  </a:lnTo>
                  <a:lnTo>
                    <a:pt x="761" y="236"/>
                  </a:lnTo>
                  <a:lnTo>
                    <a:pt x="724" y="201"/>
                  </a:lnTo>
                  <a:lnTo>
                    <a:pt x="713" y="236"/>
                  </a:lnTo>
                  <a:lnTo>
                    <a:pt x="752" y="279"/>
                  </a:lnTo>
                  <a:lnTo>
                    <a:pt x="755" y="316"/>
                  </a:lnTo>
                  <a:lnTo>
                    <a:pt x="683" y="253"/>
                  </a:lnTo>
                  <a:lnTo>
                    <a:pt x="680" y="212"/>
                  </a:lnTo>
                  <a:lnTo>
                    <a:pt x="711" y="175"/>
                  </a:lnTo>
                  <a:lnTo>
                    <a:pt x="715" y="115"/>
                  </a:lnTo>
                  <a:lnTo>
                    <a:pt x="702" y="121"/>
                  </a:lnTo>
                  <a:lnTo>
                    <a:pt x="689" y="160"/>
                  </a:lnTo>
                  <a:lnTo>
                    <a:pt x="665" y="182"/>
                  </a:lnTo>
                  <a:lnTo>
                    <a:pt x="641" y="188"/>
                  </a:lnTo>
                  <a:lnTo>
                    <a:pt x="619" y="223"/>
                  </a:lnTo>
                  <a:lnTo>
                    <a:pt x="619" y="312"/>
                  </a:lnTo>
                  <a:lnTo>
                    <a:pt x="565" y="399"/>
                  </a:lnTo>
                  <a:lnTo>
                    <a:pt x="567" y="453"/>
                  </a:lnTo>
                  <a:lnTo>
                    <a:pt x="624" y="453"/>
                  </a:lnTo>
                  <a:lnTo>
                    <a:pt x="672" y="507"/>
                  </a:lnTo>
                  <a:lnTo>
                    <a:pt x="672" y="561"/>
                  </a:lnTo>
                  <a:lnTo>
                    <a:pt x="639" y="600"/>
                  </a:lnTo>
                  <a:lnTo>
                    <a:pt x="648" y="617"/>
                  </a:lnTo>
                  <a:lnTo>
                    <a:pt x="674" y="633"/>
                  </a:lnTo>
                  <a:lnTo>
                    <a:pt x="624" y="643"/>
                  </a:lnTo>
                  <a:lnTo>
                    <a:pt x="611" y="594"/>
                  </a:lnTo>
                  <a:lnTo>
                    <a:pt x="648" y="531"/>
                  </a:lnTo>
                  <a:lnTo>
                    <a:pt x="630" y="483"/>
                  </a:lnTo>
                  <a:lnTo>
                    <a:pt x="576" y="474"/>
                  </a:lnTo>
                  <a:lnTo>
                    <a:pt x="545" y="505"/>
                  </a:lnTo>
                  <a:lnTo>
                    <a:pt x="541" y="570"/>
                  </a:lnTo>
                  <a:lnTo>
                    <a:pt x="491" y="622"/>
                  </a:lnTo>
                  <a:lnTo>
                    <a:pt x="443" y="639"/>
                  </a:lnTo>
                  <a:lnTo>
                    <a:pt x="412" y="674"/>
                  </a:lnTo>
                  <a:lnTo>
                    <a:pt x="306" y="609"/>
                  </a:lnTo>
                  <a:lnTo>
                    <a:pt x="306" y="576"/>
                  </a:lnTo>
                  <a:lnTo>
                    <a:pt x="375" y="609"/>
                  </a:lnTo>
                  <a:lnTo>
                    <a:pt x="415" y="594"/>
                  </a:lnTo>
                  <a:lnTo>
                    <a:pt x="473" y="557"/>
                  </a:lnTo>
                  <a:lnTo>
                    <a:pt x="515" y="474"/>
                  </a:lnTo>
                  <a:lnTo>
                    <a:pt x="508" y="431"/>
                  </a:lnTo>
                  <a:lnTo>
                    <a:pt x="578" y="266"/>
                  </a:lnTo>
                  <a:lnTo>
                    <a:pt x="587" y="238"/>
                  </a:lnTo>
                  <a:lnTo>
                    <a:pt x="578" y="201"/>
                  </a:lnTo>
                  <a:lnTo>
                    <a:pt x="624" y="158"/>
                  </a:lnTo>
                  <a:lnTo>
                    <a:pt x="632" y="97"/>
                  </a:lnTo>
                  <a:lnTo>
                    <a:pt x="598" y="52"/>
                  </a:lnTo>
                  <a:lnTo>
                    <a:pt x="632" y="48"/>
                  </a:lnTo>
                  <a:lnTo>
                    <a:pt x="628" y="2"/>
                  </a:lnTo>
                  <a:lnTo>
                    <a:pt x="591" y="0"/>
                  </a:lnTo>
                  <a:lnTo>
                    <a:pt x="589" y="32"/>
                  </a:lnTo>
                  <a:lnTo>
                    <a:pt x="598" y="52"/>
                  </a:lnTo>
                  <a:lnTo>
                    <a:pt x="574" y="43"/>
                  </a:lnTo>
                  <a:lnTo>
                    <a:pt x="541" y="69"/>
                  </a:lnTo>
                  <a:lnTo>
                    <a:pt x="500" y="121"/>
                  </a:lnTo>
                  <a:lnTo>
                    <a:pt x="467" y="152"/>
                  </a:lnTo>
                  <a:lnTo>
                    <a:pt x="419" y="162"/>
                  </a:lnTo>
                  <a:lnTo>
                    <a:pt x="395" y="186"/>
                  </a:lnTo>
                  <a:lnTo>
                    <a:pt x="419" y="219"/>
                  </a:lnTo>
                  <a:lnTo>
                    <a:pt x="393" y="269"/>
                  </a:lnTo>
                  <a:lnTo>
                    <a:pt x="356" y="279"/>
                  </a:lnTo>
                  <a:lnTo>
                    <a:pt x="354" y="297"/>
                  </a:lnTo>
                  <a:lnTo>
                    <a:pt x="386" y="329"/>
                  </a:lnTo>
                  <a:lnTo>
                    <a:pt x="375" y="362"/>
                  </a:lnTo>
                  <a:lnTo>
                    <a:pt x="382" y="381"/>
                  </a:lnTo>
                  <a:lnTo>
                    <a:pt x="393" y="401"/>
                  </a:lnTo>
                  <a:lnTo>
                    <a:pt x="351" y="438"/>
                  </a:lnTo>
                  <a:lnTo>
                    <a:pt x="338" y="416"/>
                  </a:lnTo>
                  <a:lnTo>
                    <a:pt x="325" y="368"/>
                  </a:lnTo>
                  <a:lnTo>
                    <a:pt x="282" y="297"/>
                  </a:lnTo>
                  <a:lnTo>
                    <a:pt x="255" y="318"/>
                  </a:lnTo>
                  <a:lnTo>
                    <a:pt x="271" y="344"/>
                  </a:lnTo>
                  <a:lnTo>
                    <a:pt x="273" y="347"/>
                  </a:lnTo>
                  <a:lnTo>
                    <a:pt x="271" y="347"/>
                  </a:lnTo>
                  <a:lnTo>
                    <a:pt x="240" y="403"/>
                  </a:lnTo>
                  <a:lnTo>
                    <a:pt x="253" y="442"/>
                  </a:lnTo>
                  <a:lnTo>
                    <a:pt x="253" y="442"/>
                  </a:lnTo>
                  <a:lnTo>
                    <a:pt x="251" y="444"/>
                  </a:lnTo>
                  <a:lnTo>
                    <a:pt x="234" y="472"/>
                  </a:lnTo>
                  <a:lnTo>
                    <a:pt x="231" y="472"/>
                  </a:lnTo>
                  <a:lnTo>
                    <a:pt x="231" y="474"/>
                  </a:lnTo>
                  <a:lnTo>
                    <a:pt x="201" y="483"/>
                  </a:lnTo>
                  <a:lnTo>
                    <a:pt x="179" y="507"/>
                  </a:lnTo>
                  <a:lnTo>
                    <a:pt x="179" y="509"/>
                  </a:lnTo>
                  <a:lnTo>
                    <a:pt x="179" y="509"/>
                  </a:lnTo>
                  <a:lnTo>
                    <a:pt x="101" y="511"/>
                  </a:lnTo>
                  <a:lnTo>
                    <a:pt x="59" y="544"/>
                  </a:lnTo>
                  <a:lnTo>
                    <a:pt x="59" y="546"/>
                  </a:lnTo>
                  <a:lnTo>
                    <a:pt x="59" y="546"/>
                  </a:lnTo>
                  <a:lnTo>
                    <a:pt x="33" y="546"/>
                  </a:lnTo>
                  <a:lnTo>
                    <a:pt x="31" y="611"/>
                  </a:lnTo>
                  <a:lnTo>
                    <a:pt x="31" y="613"/>
                  </a:lnTo>
                  <a:lnTo>
                    <a:pt x="31" y="613"/>
                  </a:lnTo>
                  <a:lnTo>
                    <a:pt x="0" y="656"/>
                  </a:lnTo>
                  <a:lnTo>
                    <a:pt x="20" y="698"/>
                  </a:lnTo>
                  <a:lnTo>
                    <a:pt x="94" y="704"/>
                  </a:lnTo>
                  <a:lnTo>
                    <a:pt x="96" y="704"/>
                  </a:lnTo>
                  <a:lnTo>
                    <a:pt x="96" y="704"/>
                  </a:lnTo>
                  <a:lnTo>
                    <a:pt x="131" y="732"/>
                  </a:lnTo>
                  <a:lnTo>
                    <a:pt x="133" y="732"/>
                  </a:lnTo>
                  <a:lnTo>
                    <a:pt x="133" y="732"/>
                  </a:lnTo>
                  <a:lnTo>
                    <a:pt x="133" y="769"/>
                  </a:lnTo>
                  <a:lnTo>
                    <a:pt x="146" y="780"/>
                  </a:lnTo>
                  <a:lnTo>
                    <a:pt x="234" y="784"/>
                  </a:lnTo>
                  <a:lnTo>
                    <a:pt x="234" y="784"/>
                  </a:lnTo>
                  <a:lnTo>
                    <a:pt x="236" y="787"/>
                  </a:lnTo>
                  <a:lnTo>
                    <a:pt x="262" y="819"/>
                  </a:lnTo>
                  <a:lnTo>
                    <a:pt x="262" y="821"/>
                  </a:lnTo>
                  <a:lnTo>
                    <a:pt x="262" y="821"/>
                  </a:lnTo>
                  <a:lnTo>
                    <a:pt x="264" y="875"/>
                  </a:lnTo>
                  <a:lnTo>
                    <a:pt x="279" y="895"/>
                  </a:lnTo>
                  <a:lnTo>
                    <a:pt x="279" y="895"/>
                  </a:lnTo>
                  <a:lnTo>
                    <a:pt x="279" y="897"/>
                  </a:lnTo>
                  <a:lnTo>
                    <a:pt x="279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36" y="932"/>
                  </a:lnTo>
                  <a:lnTo>
                    <a:pt x="388" y="979"/>
                  </a:lnTo>
                  <a:lnTo>
                    <a:pt x="460" y="1012"/>
                  </a:lnTo>
                  <a:lnTo>
                    <a:pt x="460" y="1012"/>
                  </a:lnTo>
                  <a:lnTo>
                    <a:pt x="462" y="1012"/>
                  </a:lnTo>
                  <a:lnTo>
                    <a:pt x="489" y="1055"/>
                  </a:lnTo>
                  <a:lnTo>
                    <a:pt x="534" y="1083"/>
                  </a:lnTo>
                  <a:lnTo>
                    <a:pt x="582" y="1088"/>
                  </a:lnTo>
                  <a:lnTo>
                    <a:pt x="622" y="1060"/>
                  </a:lnTo>
                  <a:lnTo>
                    <a:pt x="622" y="1060"/>
                  </a:lnTo>
                  <a:lnTo>
                    <a:pt x="624" y="1060"/>
                  </a:lnTo>
                  <a:lnTo>
                    <a:pt x="659" y="1092"/>
                  </a:lnTo>
                  <a:lnTo>
                    <a:pt x="696" y="1092"/>
                  </a:lnTo>
                  <a:lnTo>
                    <a:pt x="698" y="1092"/>
                  </a:lnTo>
                  <a:lnTo>
                    <a:pt x="698" y="1092"/>
                  </a:lnTo>
                  <a:lnTo>
                    <a:pt x="724" y="1131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39" y="1133"/>
                  </a:lnTo>
                  <a:lnTo>
                    <a:pt x="765" y="1159"/>
                  </a:lnTo>
                  <a:lnTo>
                    <a:pt x="820" y="1092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24" y="1047"/>
                  </a:lnTo>
                  <a:lnTo>
                    <a:pt x="861" y="997"/>
                  </a:lnTo>
                  <a:lnTo>
                    <a:pt x="853" y="958"/>
                  </a:lnTo>
                  <a:lnTo>
                    <a:pt x="813" y="927"/>
                  </a:lnTo>
                  <a:lnTo>
                    <a:pt x="811" y="925"/>
                  </a:lnTo>
                  <a:lnTo>
                    <a:pt x="811" y="925"/>
                  </a:lnTo>
                  <a:lnTo>
                    <a:pt x="822" y="867"/>
                  </a:lnTo>
                  <a:lnTo>
                    <a:pt x="796" y="830"/>
                  </a:lnTo>
                  <a:lnTo>
                    <a:pt x="794" y="830"/>
                  </a:lnTo>
                  <a:lnTo>
                    <a:pt x="794" y="828"/>
                  </a:lnTo>
                  <a:lnTo>
                    <a:pt x="802" y="747"/>
                  </a:lnTo>
                  <a:lnTo>
                    <a:pt x="770" y="704"/>
                  </a:lnTo>
                  <a:lnTo>
                    <a:pt x="768" y="704"/>
                  </a:lnTo>
                  <a:lnTo>
                    <a:pt x="768" y="702"/>
                  </a:lnTo>
                  <a:lnTo>
                    <a:pt x="783" y="661"/>
                  </a:lnTo>
                  <a:lnTo>
                    <a:pt x="770" y="630"/>
                  </a:lnTo>
                  <a:lnTo>
                    <a:pt x="768" y="628"/>
                  </a:lnTo>
                  <a:lnTo>
                    <a:pt x="770" y="626"/>
                  </a:lnTo>
                  <a:lnTo>
                    <a:pt x="813" y="615"/>
                  </a:lnTo>
                  <a:lnTo>
                    <a:pt x="833" y="568"/>
                  </a:lnTo>
                  <a:lnTo>
                    <a:pt x="822" y="513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76" y="500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33" y="444"/>
                  </a:lnTo>
                  <a:lnTo>
                    <a:pt x="741" y="409"/>
                  </a:lnTo>
                  <a:lnTo>
                    <a:pt x="741" y="409"/>
                  </a:lnTo>
                  <a:lnTo>
                    <a:pt x="744" y="407"/>
                  </a:lnTo>
                  <a:lnTo>
                    <a:pt x="807" y="379"/>
                  </a:lnTo>
                  <a:lnTo>
                    <a:pt x="813" y="355"/>
                  </a:lnTo>
                  <a:lnTo>
                    <a:pt x="785" y="299"/>
                  </a:lnTo>
                  <a:lnTo>
                    <a:pt x="785" y="297"/>
                  </a:lnTo>
                  <a:lnTo>
                    <a:pt x="785" y="297"/>
                  </a:lnTo>
                  <a:lnTo>
                    <a:pt x="792" y="260"/>
                  </a:lnTo>
                  <a:lnTo>
                    <a:pt x="792" y="258"/>
                  </a:lnTo>
                  <a:lnTo>
                    <a:pt x="794" y="258"/>
                  </a:lnTo>
                  <a:lnTo>
                    <a:pt x="822" y="253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9"/>
                  </a:lnTo>
                  <a:lnTo>
                    <a:pt x="796" y="193"/>
                  </a:lnTo>
                  <a:lnTo>
                    <a:pt x="796" y="19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27">
              <a:extLst>
                <a:ext uri="{FF2B5EF4-FFF2-40B4-BE49-F238E27FC236}">
                  <a16:creationId xmlns:a16="http://schemas.microsoft.com/office/drawing/2014/main" xmlns="" id="{635AC68E-917C-42B6-A707-62E927E837B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" y="2627"/>
              <a:ext cx="530" cy="418"/>
            </a:xfrm>
            <a:custGeom>
              <a:avLst/>
              <a:gdLst>
                <a:gd name="T0" fmla="*/ 146 w 530"/>
                <a:gd name="T1" fmla="*/ 371 h 418"/>
                <a:gd name="T2" fmla="*/ 194 w 530"/>
                <a:gd name="T3" fmla="*/ 418 h 418"/>
                <a:gd name="T4" fmla="*/ 201 w 530"/>
                <a:gd name="T5" fmla="*/ 399 h 418"/>
                <a:gd name="T6" fmla="*/ 203 w 530"/>
                <a:gd name="T7" fmla="*/ 399 h 418"/>
                <a:gd name="T8" fmla="*/ 247 w 530"/>
                <a:gd name="T9" fmla="*/ 336 h 418"/>
                <a:gd name="T10" fmla="*/ 247 w 530"/>
                <a:gd name="T11" fmla="*/ 336 h 418"/>
                <a:gd name="T12" fmla="*/ 268 w 530"/>
                <a:gd name="T13" fmla="*/ 310 h 418"/>
                <a:gd name="T14" fmla="*/ 299 w 530"/>
                <a:gd name="T15" fmla="*/ 316 h 418"/>
                <a:gd name="T16" fmla="*/ 310 w 530"/>
                <a:gd name="T17" fmla="*/ 284 h 418"/>
                <a:gd name="T18" fmla="*/ 279 w 530"/>
                <a:gd name="T19" fmla="*/ 254 h 418"/>
                <a:gd name="T20" fmla="*/ 277 w 530"/>
                <a:gd name="T21" fmla="*/ 254 h 418"/>
                <a:gd name="T22" fmla="*/ 273 w 530"/>
                <a:gd name="T23" fmla="*/ 238 h 418"/>
                <a:gd name="T24" fmla="*/ 286 w 530"/>
                <a:gd name="T25" fmla="*/ 225 h 418"/>
                <a:gd name="T26" fmla="*/ 290 w 530"/>
                <a:gd name="T27" fmla="*/ 189 h 418"/>
                <a:gd name="T28" fmla="*/ 329 w 530"/>
                <a:gd name="T29" fmla="*/ 150 h 418"/>
                <a:gd name="T30" fmla="*/ 334 w 530"/>
                <a:gd name="T31" fmla="*/ 150 h 418"/>
                <a:gd name="T32" fmla="*/ 358 w 530"/>
                <a:gd name="T33" fmla="*/ 173 h 418"/>
                <a:gd name="T34" fmla="*/ 345 w 530"/>
                <a:gd name="T35" fmla="*/ 193 h 418"/>
                <a:gd name="T36" fmla="*/ 360 w 530"/>
                <a:gd name="T37" fmla="*/ 195 h 418"/>
                <a:gd name="T38" fmla="*/ 401 w 530"/>
                <a:gd name="T39" fmla="*/ 223 h 418"/>
                <a:gd name="T40" fmla="*/ 432 w 530"/>
                <a:gd name="T41" fmla="*/ 219 h 418"/>
                <a:gd name="T42" fmla="*/ 462 w 530"/>
                <a:gd name="T43" fmla="*/ 236 h 418"/>
                <a:gd name="T44" fmla="*/ 530 w 530"/>
                <a:gd name="T45" fmla="*/ 210 h 418"/>
                <a:gd name="T46" fmla="*/ 460 w 530"/>
                <a:gd name="T47" fmla="*/ 160 h 418"/>
                <a:gd name="T48" fmla="*/ 428 w 530"/>
                <a:gd name="T49" fmla="*/ 95 h 418"/>
                <a:gd name="T50" fmla="*/ 401 w 530"/>
                <a:gd name="T51" fmla="*/ 39 h 418"/>
                <a:gd name="T52" fmla="*/ 384 w 530"/>
                <a:gd name="T53" fmla="*/ 35 h 418"/>
                <a:gd name="T54" fmla="*/ 343 w 530"/>
                <a:gd name="T55" fmla="*/ 20 h 418"/>
                <a:gd name="T56" fmla="*/ 343 w 530"/>
                <a:gd name="T57" fmla="*/ 17 h 418"/>
                <a:gd name="T58" fmla="*/ 316 w 530"/>
                <a:gd name="T59" fmla="*/ 15 h 418"/>
                <a:gd name="T60" fmla="*/ 314 w 530"/>
                <a:gd name="T61" fmla="*/ 17 h 418"/>
                <a:gd name="T62" fmla="*/ 275 w 530"/>
                <a:gd name="T63" fmla="*/ 24 h 418"/>
                <a:gd name="T64" fmla="*/ 273 w 530"/>
                <a:gd name="T65" fmla="*/ 24 h 418"/>
                <a:gd name="T66" fmla="*/ 253 w 530"/>
                <a:gd name="T67" fmla="*/ 35 h 418"/>
                <a:gd name="T68" fmla="*/ 236 w 530"/>
                <a:gd name="T69" fmla="*/ 33 h 418"/>
                <a:gd name="T70" fmla="*/ 227 w 530"/>
                <a:gd name="T71" fmla="*/ 41 h 418"/>
                <a:gd name="T72" fmla="*/ 205 w 530"/>
                <a:gd name="T73" fmla="*/ 41 h 418"/>
                <a:gd name="T74" fmla="*/ 205 w 530"/>
                <a:gd name="T75" fmla="*/ 39 h 418"/>
                <a:gd name="T76" fmla="*/ 168 w 530"/>
                <a:gd name="T77" fmla="*/ 50 h 418"/>
                <a:gd name="T78" fmla="*/ 166 w 530"/>
                <a:gd name="T79" fmla="*/ 50 h 418"/>
                <a:gd name="T80" fmla="*/ 107 w 530"/>
                <a:gd name="T81" fmla="*/ 98 h 418"/>
                <a:gd name="T82" fmla="*/ 105 w 530"/>
                <a:gd name="T83" fmla="*/ 100 h 418"/>
                <a:gd name="T84" fmla="*/ 24 w 530"/>
                <a:gd name="T85" fmla="*/ 134 h 418"/>
                <a:gd name="T86" fmla="*/ 24 w 530"/>
                <a:gd name="T87" fmla="*/ 171 h 418"/>
                <a:gd name="T88" fmla="*/ 7 w 530"/>
                <a:gd name="T89" fmla="*/ 176 h 418"/>
                <a:gd name="T90" fmla="*/ 16 w 530"/>
                <a:gd name="T91" fmla="*/ 238 h 418"/>
                <a:gd name="T92" fmla="*/ 16 w 530"/>
                <a:gd name="T93" fmla="*/ 238 h 418"/>
                <a:gd name="T94" fmla="*/ 48 w 530"/>
                <a:gd name="T95" fmla="*/ 269 h 418"/>
                <a:gd name="T96" fmla="*/ 48 w 530"/>
                <a:gd name="T97" fmla="*/ 269 h 418"/>
                <a:gd name="T98" fmla="*/ 74 w 530"/>
                <a:gd name="T99" fmla="*/ 293 h 418"/>
                <a:gd name="T100" fmla="*/ 74 w 530"/>
                <a:gd name="T101" fmla="*/ 316 h 418"/>
                <a:gd name="T102" fmla="*/ 114 w 530"/>
                <a:gd name="T103" fmla="*/ 349 h 418"/>
                <a:gd name="T104" fmla="*/ 116 w 530"/>
                <a:gd name="T105" fmla="*/ 371 h 418"/>
                <a:gd name="T106" fmla="*/ 116 w 530"/>
                <a:gd name="T107" fmla="*/ 371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0" h="418">
                  <a:moveTo>
                    <a:pt x="116" y="371"/>
                  </a:moveTo>
                  <a:lnTo>
                    <a:pt x="146" y="371"/>
                  </a:lnTo>
                  <a:lnTo>
                    <a:pt x="173" y="414"/>
                  </a:lnTo>
                  <a:lnTo>
                    <a:pt x="194" y="418"/>
                  </a:lnTo>
                  <a:lnTo>
                    <a:pt x="194" y="416"/>
                  </a:lnTo>
                  <a:lnTo>
                    <a:pt x="201" y="399"/>
                  </a:lnTo>
                  <a:lnTo>
                    <a:pt x="203" y="399"/>
                  </a:lnTo>
                  <a:lnTo>
                    <a:pt x="203" y="399"/>
                  </a:lnTo>
                  <a:lnTo>
                    <a:pt x="240" y="364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47" y="336"/>
                  </a:lnTo>
                  <a:lnTo>
                    <a:pt x="268" y="310"/>
                  </a:lnTo>
                  <a:lnTo>
                    <a:pt x="268" y="310"/>
                  </a:lnTo>
                  <a:lnTo>
                    <a:pt x="271" y="310"/>
                  </a:lnTo>
                  <a:lnTo>
                    <a:pt x="299" y="316"/>
                  </a:lnTo>
                  <a:lnTo>
                    <a:pt x="306" y="303"/>
                  </a:lnTo>
                  <a:lnTo>
                    <a:pt x="310" y="284"/>
                  </a:lnTo>
                  <a:lnTo>
                    <a:pt x="303" y="264"/>
                  </a:lnTo>
                  <a:lnTo>
                    <a:pt x="279" y="254"/>
                  </a:lnTo>
                  <a:lnTo>
                    <a:pt x="277" y="254"/>
                  </a:lnTo>
                  <a:lnTo>
                    <a:pt x="277" y="254"/>
                  </a:lnTo>
                  <a:lnTo>
                    <a:pt x="275" y="241"/>
                  </a:lnTo>
                  <a:lnTo>
                    <a:pt x="273" y="238"/>
                  </a:lnTo>
                  <a:lnTo>
                    <a:pt x="275" y="238"/>
                  </a:lnTo>
                  <a:lnTo>
                    <a:pt x="286" y="225"/>
                  </a:lnTo>
                  <a:lnTo>
                    <a:pt x="290" y="191"/>
                  </a:lnTo>
                  <a:lnTo>
                    <a:pt x="290" y="189"/>
                  </a:lnTo>
                  <a:lnTo>
                    <a:pt x="290" y="189"/>
                  </a:lnTo>
                  <a:lnTo>
                    <a:pt x="329" y="150"/>
                  </a:lnTo>
                  <a:lnTo>
                    <a:pt x="332" y="147"/>
                  </a:lnTo>
                  <a:lnTo>
                    <a:pt x="334" y="150"/>
                  </a:lnTo>
                  <a:lnTo>
                    <a:pt x="356" y="171"/>
                  </a:lnTo>
                  <a:lnTo>
                    <a:pt x="358" y="173"/>
                  </a:lnTo>
                  <a:lnTo>
                    <a:pt x="356" y="176"/>
                  </a:lnTo>
                  <a:lnTo>
                    <a:pt x="345" y="193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360" y="195"/>
                  </a:lnTo>
                  <a:lnTo>
                    <a:pt x="401" y="223"/>
                  </a:lnTo>
                  <a:lnTo>
                    <a:pt x="432" y="219"/>
                  </a:lnTo>
                  <a:lnTo>
                    <a:pt x="432" y="219"/>
                  </a:lnTo>
                  <a:lnTo>
                    <a:pt x="434" y="219"/>
                  </a:lnTo>
                  <a:lnTo>
                    <a:pt x="462" y="236"/>
                  </a:lnTo>
                  <a:lnTo>
                    <a:pt x="491" y="236"/>
                  </a:lnTo>
                  <a:lnTo>
                    <a:pt x="530" y="210"/>
                  </a:lnTo>
                  <a:lnTo>
                    <a:pt x="460" y="160"/>
                  </a:lnTo>
                  <a:lnTo>
                    <a:pt x="460" y="160"/>
                  </a:lnTo>
                  <a:lnTo>
                    <a:pt x="460" y="158"/>
                  </a:lnTo>
                  <a:lnTo>
                    <a:pt x="428" y="95"/>
                  </a:lnTo>
                  <a:lnTo>
                    <a:pt x="428" y="93"/>
                  </a:lnTo>
                  <a:lnTo>
                    <a:pt x="401" y="39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84" y="35"/>
                  </a:lnTo>
                  <a:lnTo>
                    <a:pt x="343" y="20"/>
                  </a:lnTo>
                  <a:lnTo>
                    <a:pt x="343" y="20"/>
                  </a:lnTo>
                  <a:lnTo>
                    <a:pt x="343" y="17"/>
                  </a:lnTo>
                  <a:lnTo>
                    <a:pt x="323" y="0"/>
                  </a:lnTo>
                  <a:lnTo>
                    <a:pt x="316" y="15"/>
                  </a:lnTo>
                  <a:lnTo>
                    <a:pt x="316" y="17"/>
                  </a:lnTo>
                  <a:lnTo>
                    <a:pt x="314" y="17"/>
                  </a:lnTo>
                  <a:lnTo>
                    <a:pt x="282" y="15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3" y="24"/>
                  </a:lnTo>
                  <a:lnTo>
                    <a:pt x="253" y="35"/>
                  </a:lnTo>
                  <a:lnTo>
                    <a:pt x="253" y="35"/>
                  </a:lnTo>
                  <a:lnTo>
                    <a:pt x="251" y="35"/>
                  </a:lnTo>
                  <a:lnTo>
                    <a:pt x="236" y="33"/>
                  </a:lnTo>
                  <a:lnTo>
                    <a:pt x="227" y="39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05" y="41"/>
                  </a:lnTo>
                  <a:lnTo>
                    <a:pt x="205" y="41"/>
                  </a:lnTo>
                  <a:lnTo>
                    <a:pt x="205" y="39"/>
                  </a:lnTo>
                  <a:lnTo>
                    <a:pt x="179" y="28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6" y="50"/>
                  </a:lnTo>
                  <a:lnTo>
                    <a:pt x="131" y="59"/>
                  </a:lnTo>
                  <a:lnTo>
                    <a:pt x="107" y="98"/>
                  </a:lnTo>
                  <a:lnTo>
                    <a:pt x="107" y="100"/>
                  </a:lnTo>
                  <a:lnTo>
                    <a:pt x="105" y="100"/>
                  </a:lnTo>
                  <a:lnTo>
                    <a:pt x="42" y="98"/>
                  </a:lnTo>
                  <a:lnTo>
                    <a:pt x="24" y="134"/>
                  </a:lnTo>
                  <a:lnTo>
                    <a:pt x="24" y="169"/>
                  </a:lnTo>
                  <a:lnTo>
                    <a:pt x="24" y="171"/>
                  </a:lnTo>
                  <a:lnTo>
                    <a:pt x="22" y="171"/>
                  </a:lnTo>
                  <a:lnTo>
                    <a:pt x="7" y="176"/>
                  </a:lnTo>
                  <a:lnTo>
                    <a:pt x="0" y="204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16" y="238"/>
                  </a:lnTo>
                  <a:lnTo>
                    <a:pt x="20" y="260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48" y="269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293"/>
                  </a:lnTo>
                  <a:lnTo>
                    <a:pt x="74" y="316"/>
                  </a:lnTo>
                  <a:lnTo>
                    <a:pt x="112" y="349"/>
                  </a:lnTo>
                  <a:lnTo>
                    <a:pt x="114" y="349"/>
                  </a:lnTo>
                  <a:lnTo>
                    <a:pt x="114" y="349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lnTo>
                    <a:pt x="116" y="37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28">
              <a:extLst>
                <a:ext uri="{FF2B5EF4-FFF2-40B4-BE49-F238E27FC236}">
                  <a16:creationId xmlns:a16="http://schemas.microsoft.com/office/drawing/2014/main" xmlns="" id="{03B702DA-B5AD-4B8D-B84D-BE3444C14A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65" y="2761"/>
              <a:ext cx="330" cy="256"/>
            </a:xfrm>
            <a:custGeom>
              <a:avLst/>
              <a:gdLst>
                <a:gd name="T0" fmla="*/ 29 w 330"/>
                <a:gd name="T1" fmla="*/ 198 h 256"/>
                <a:gd name="T2" fmla="*/ 94 w 330"/>
                <a:gd name="T3" fmla="*/ 213 h 256"/>
                <a:gd name="T4" fmla="*/ 129 w 330"/>
                <a:gd name="T5" fmla="*/ 234 h 256"/>
                <a:gd name="T6" fmla="*/ 151 w 330"/>
                <a:gd name="T7" fmla="*/ 219 h 256"/>
                <a:gd name="T8" fmla="*/ 184 w 330"/>
                <a:gd name="T9" fmla="*/ 234 h 256"/>
                <a:gd name="T10" fmla="*/ 290 w 330"/>
                <a:gd name="T11" fmla="*/ 256 h 256"/>
                <a:gd name="T12" fmla="*/ 330 w 330"/>
                <a:gd name="T13" fmla="*/ 239 h 256"/>
                <a:gd name="T14" fmla="*/ 330 w 330"/>
                <a:gd name="T15" fmla="*/ 237 h 256"/>
                <a:gd name="T16" fmla="*/ 327 w 330"/>
                <a:gd name="T17" fmla="*/ 217 h 256"/>
                <a:gd name="T18" fmla="*/ 290 w 330"/>
                <a:gd name="T19" fmla="*/ 185 h 256"/>
                <a:gd name="T20" fmla="*/ 288 w 330"/>
                <a:gd name="T21" fmla="*/ 185 h 256"/>
                <a:gd name="T22" fmla="*/ 288 w 330"/>
                <a:gd name="T23" fmla="*/ 182 h 256"/>
                <a:gd name="T24" fmla="*/ 288 w 330"/>
                <a:gd name="T25" fmla="*/ 161 h 256"/>
                <a:gd name="T26" fmla="*/ 264 w 330"/>
                <a:gd name="T27" fmla="*/ 139 h 256"/>
                <a:gd name="T28" fmla="*/ 236 w 330"/>
                <a:gd name="T29" fmla="*/ 130 h 256"/>
                <a:gd name="T30" fmla="*/ 236 w 330"/>
                <a:gd name="T31" fmla="*/ 130 h 256"/>
                <a:gd name="T32" fmla="*/ 236 w 330"/>
                <a:gd name="T33" fmla="*/ 128 h 256"/>
                <a:gd name="T34" fmla="*/ 229 w 330"/>
                <a:gd name="T35" fmla="*/ 107 h 256"/>
                <a:gd name="T36" fmla="*/ 214 w 330"/>
                <a:gd name="T37" fmla="*/ 72 h 256"/>
                <a:gd name="T38" fmla="*/ 214 w 330"/>
                <a:gd name="T39" fmla="*/ 72 h 256"/>
                <a:gd name="T40" fmla="*/ 214 w 330"/>
                <a:gd name="T41" fmla="*/ 70 h 256"/>
                <a:gd name="T42" fmla="*/ 221 w 330"/>
                <a:gd name="T43" fmla="*/ 42 h 256"/>
                <a:gd name="T44" fmla="*/ 190 w 330"/>
                <a:gd name="T45" fmla="*/ 26 h 256"/>
                <a:gd name="T46" fmla="*/ 166 w 330"/>
                <a:gd name="T47" fmla="*/ 39 h 256"/>
                <a:gd name="T48" fmla="*/ 166 w 330"/>
                <a:gd name="T49" fmla="*/ 39 h 256"/>
                <a:gd name="T50" fmla="*/ 164 w 330"/>
                <a:gd name="T51" fmla="*/ 37 h 256"/>
                <a:gd name="T52" fmla="*/ 146 w 330"/>
                <a:gd name="T53" fmla="*/ 13 h 256"/>
                <a:gd name="T54" fmla="*/ 107 w 330"/>
                <a:gd name="T55" fmla="*/ 0 h 256"/>
                <a:gd name="T56" fmla="*/ 61 w 330"/>
                <a:gd name="T57" fmla="*/ 13 h 256"/>
                <a:gd name="T58" fmla="*/ 64 w 330"/>
                <a:gd name="T59" fmla="*/ 26 h 256"/>
                <a:gd name="T60" fmla="*/ 64 w 330"/>
                <a:gd name="T61" fmla="*/ 26 h 256"/>
                <a:gd name="T62" fmla="*/ 64 w 330"/>
                <a:gd name="T63" fmla="*/ 26 h 256"/>
                <a:gd name="T64" fmla="*/ 64 w 330"/>
                <a:gd name="T65" fmla="*/ 68 h 256"/>
                <a:gd name="T66" fmla="*/ 64 w 330"/>
                <a:gd name="T67" fmla="*/ 68 h 256"/>
                <a:gd name="T68" fmla="*/ 61 w 330"/>
                <a:gd name="T69" fmla="*/ 70 h 256"/>
                <a:gd name="T70" fmla="*/ 3 w 330"/>
                <a:gd name="T71" fmla="*/ 115 h 256"/>
                <a:gd name="T72" fmla="*/ 0 w 330"/>
                <a:gd name="T73" fmla="*/ 137 h 256"/>
                <a:gd name="T74" fmla="*/ 46 w 330"/>
                <a:gd name="T75" fmla="*/ 163 h 256"/>
                <a:gd name="T76" fmla="*/ 48 w 330"/>
                <a:gd name="T77" fmla="*/ 165 h 256"/>
                <a:gd name="T78" fmla="*/ 46 w 330"/>
                <a:gd name="T79" fmla="*/ 167 h 256"/>
                <a:gd name="T80" fmla="*/ 29 w 330"/>
                <a:gd name="T81" fmla="*/ 198 h 256"/>
                <a:gd name="T82" fmla="*/ 29 w 330"/>
                <a:gd name="T83" fmla="*/ 198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0" h="256">
                  <a:moveTo>
                    <a:pt x="29" y="198"/>
                  </a:moveTo>
                  <a:lnTo>
                    <a:pt x="94" y="213"/>
                  </a:lnTo>
                  <a:lnTo>
                    <a:pt x="129" y="234"/>
                  </a:lnTo>
                  <a:lnTo>
                    <a:pt x="151" y="219"/>
                  </a:lnTo>
                  <a:lnTo>
                    <a:pt x="184" y="234"/>
                  </a:lnTo>
                  <a:lnTo>
                    <a:pt x="290" y="256"/>
                  </a:lnTo>
                  <a:lnTo>
                    <a:pt x="330" y="239"/>
                  </a:lnTo>
                  <a:lnTo>
                    <a:pt x="330" y="237"/>
                  </a:lnTo>
                  <a:lnTo>
                    <a:pt x="327" y="217"/>
                  </a:lnTo>
                  <a:lnTo>
                    <a:pt x="290" y="185"/>
                  </a:lnTo>
                  <a:lnTo>
                    <a:pt x="288" y="185"/>
                  </a:lnTo>
                  <a:lnTo>
                    <a:pt x="288" y="182"/>
                  </a:lnTo>
                  <a:lnTo>
                    <a:pt x="288" y="161"/>
                  </a:lnTo>
                  <a:lnTo>
                    <a:pt x="264" y="139"/>
                  </a:lnTo>
                  <a:lnTo>
                    <a:pt x="236" y="130"/>
                  </a:lnTo>
                  <a:lnTo>
                    <a:pt x="236" y="130"/>
                  </a:lnTo>
                  <a:lnTo>
                    <a:pt x="236" y="128"/>
                  </a:lnTo>
                  <a:lnTo>
                    <a:pt x="229" y="107"/>
                  </a:lnTo>
                  <a:lnTo>
                    <a:pt x="214" y="72"/>
                  </a:lnTo>
                  <a:lnTo>
                    <a:pt x="214" y="72"/>
                  </a:lnTo>
                  <a:lnTo>
                    <a:pt x="214" y="70"/>
                  </a:lnTo>
                  <a:lnTo>
                    <a:pt x="221" y="42"/>
                  </a:lnTo>
                  <a:lnTo>
                    <a:pt x="190" y="26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7"/>
                  </a:lnTo>
                  <a:lnTo>
                    <a:pt x="146" y="13"/>
                  </a:lnTo>
                  <a:lnTo>
                    <a:pt x="107" y="0"/>
                  </a:lnTo>
                  <a:lnTo>
                    <a:pt x="61" y="13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1" y="70"/>
                  </a:lnTo>
                  <a:lnTo>
                    <a:pt x="3" y="115"/>
                  </a:lnTo>
                  <a:lnTo>
                    <a:pt x="0" y="137"/>
                  </a:lnTo>
                  <a:lnTo>
                    <a:pt x="46" y="163"/>
                  </a:lnTo>
                  <a:lnTo>
                    <a:pt x="48" y="165"/>
                  </a:lnTo>
                  <a:lnTo>
                    <a:pt x="46" y="167"/>
                  </a:lnTo>
                  <a:lnTo>
                    <a:pt x="29" y="198"/>
                  </a:lnTo>
                  <a:lnTo>
                    <a:pt x="29" y="19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29">
              <a:extLst>
                <a:ext uri="{FF2B5EF4-FFF2-40B4-BE49-F238E27FC236}">
                  <a16:creationId xmlns:a16="http://schemas.microsoft.com/office/drawing/2014/main" xmlns="" id="{7036E4D8-BDCA-4CEB-BD85-03DC518F61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4" y="2690"/>
              <a:ext cx="320" cy="379"/>
            </a:xfrm>
            <a:custGeom>
              <a:avLst/>
              <a:gdLst>
                <a:gd name="T0" fmla="*/ 52 w 320"/>
                <a:gd name="T1" fmla="*/ 364 h 379"/>
                <a:gd name="T2" fmla="*/ 98 w 320"/>
                <a:gd name="T3" fmla="*/ 329 h 379"/>
                <a:gd name="T4" fmla="*/ 139 w 320"/>
                <a:gd name="T5" fmla="*/ 318 h 379"/>
                <a:gd name="T6" fmla="*/ 183 w 320"/>
                <a:gd name="T7" fmla="*/ 325 h 379"/>
                <a:gd name="T8" fmla="*/ 155 w 320"/>
                <a:gd name="T9" fmla="*/ 262 h 379"/>
                <a:gd name="T10" fmla="*/ 194 w 320"/>
                <a:gd name="T11" fmla="*/ 232 h 379"/>
                <a:gd name="T12" fmla="*/ 285 w 320"/>
                <a:gd name="T13" fmla="*/ 269 h 379"/>
                <a:gd name="T14" fmla="*/ 285 w 320"/>
                <a:gd name="T15" fmla="*/ 269 h 379"/>
                <a:gd name="T16" fmla="*/ 303 w 320"/>
                <a:gd name="T17" fmla="*/ 238 h 379"/>
                <a:gd name="T18" fmla="*/ 257 w 320"/>
                <a:gd name="T19" fmla="*/ 210 h 379"/>
                <a:gd name="T20" fmla="*/ 259 w 320"/>
                <a:gd name="T21" fmla="*/ 184 h 379"/>
                <a:gd name="T22" fmla="*/ 259 w 320"/>
                <a:gd name="T23" fmla="*/ 182 h 379"/>
                <a:gd name="T24" fmla="*/ 320 w 320"/>
                <a:gd name="T25" fmla="*/ 97 h 379"/>
                <a:gd name="T26" fmla="*/ 299 w 320"/>
                <a:gd name="T27" fmla="*/ 54 h 379"/>
                <a:gd name="T28" fmla="*/ 290 w 320"/>
                <a:gd name="T29" fmla="*/ 61 h 379"/>
                <a:gd name="T30" fmla="*/ 272 w 320"/>
                <a:gd name="T31" fmla="*/ 56 h 379"/>
                <a:gd name="T32" fmla="*/ 272 w 320"/>
                <a:gd name="T33" fmla="*/ 56 h 379"/>
                <a:gd name="T34" fmla="*/ 196 w 320"/>
                <a:gd name="T35" fmla="*/ 4 h 379"/>
                <a:gd name="T36" fmla="*/ 194 w 320"/>
                <a:gd name="T37" fmla="*/ 26 h 379"/>
                <a:gd name="T38" fmla="*/ 179 w 320"/>
                <a:gd name="T39" fmla="*/ 52 h 379"/>
                <a:gd name="T40" fmla="*/ 194 w 320"/>
                <a:gd name="T41" fmla="*/ 82 h 379"/>
                <a:gd name="T42" fmla="*/ 194 w 320"/>
                <a:gd name="T43" fmla="*/ 84 h 379"/>
                <a:gd name="T44" fmla="*/ 187 w 320"/>
                <a:gd name="T45" fmla="*/ 100 h 379"/>
                <a:gd name="T46" fmla="*/ 174 w 320"/>
                <a:gd name="T47" fmla="*/ 108 h 379"/>
                <a:gd name="T48" fmla="*/ 172 w 320"/>
                <a:gd name="T49" fmla="*/ 108 h 379"/>
                <a:gd name="T50" fmla="*/ 142 w 320"/>
                <a:gd name="T51" fmla="*/ 80 h 379"/>
                <a:gd name="T52" fmla="*/ 113 w 320"/>
                <a:gd name="T53" fmla="*/ 84 h 379"/>
                <a:gd name="T54" fmla="*/ 111 w 320"/>
                <a:gd name="T55" fmla="*/ 84 h 379"/>
                <a:gd name="T56" fmla="*/ 96 w 320"/>
                <a:gd name="T57" fmla="*/ 74 h 379"/>
                <a:gd name="T58" fmla="*/ 96 w 320"/>
                <a:gd name="T59" fmla="*/ 45 h 379"/>
                <a:gd name="T60" fmla="*/ 70 w 320"/>
                <a:gd name="T61" fmla="*/ 28 h 379"/>
                <a:gd name="T62" fmla="*/ 35 w 320"/>
                <a:gd name="T63" fmla="*/ 65 h 379"/>
                <a:gd name="T64" fmla="*/ 63 w 320"/>
                <a:gd name="T65" fmla="*/ 110 h 379"/>
                <a:gd name="T66" fmla="*/ 137 w 320"/>
                <a:gd name="T67" fmla="*/ 123 h 379"/>
                <a:gd name="T68" fmla="*/ 146 w 320"/>
                <a:gd name="T69" fmla="*/ 117 h 379"/>
                <a:gd name="T70" fmla="*/ 148 w 320"/>
                <a:gd name="T71" fmla="*/ 119 h 379"/>
                <a:gd name="T72" fmla="*/ 168 w 320"/>
                <a:gd name="T73" fmla="*/ 139 h 379"/>
                <a:gd name="T74" fmla="*/ 152 w 320"/>
                <a:gd name="T75" fmla="*/ 149 h 379"/>
                <a:gd name="T76" fmla="*/ 152 w 320"/>
                <a:gd name="T77" fmla="*/ 149 h 379"/>
                <a:gd name="T78" fmla="*/ 126 w 320"/>
                <a:gd name="T79" fmla="*/ 180 h 379"/>
                <a:gd name="T80" fmla="*/ 126 w 320"/>
                <a:gd name="T81" fmla="*/ 182 h 379"/>
                <a:gd name="T82" fmla="*/ 113 w 320"/>
                <a:gd name="T83" fmla="*/ 182 h 379"/>
                <a:gd name="T84" fmla="*/ 96 w 320"/>
                <a:gd name="T85" fmla="*/ 171 h 379"/>
                <a:gd name="T86" fmla="*/ 37 w 320"/>
                <a:gd name="T87" fmla="*/ 230 h 379"/>
                <a:gd name="T88" fmla="*/ 33 w 320"/>
                <a:gd name="T89" fmla="*/ 253 h 379"/>
                <a:gd name="T90" fmla="*/ 4 w 320"/>
                <a:gd name="T91" fmla="*/ 260 h 379"/>
                <a:gd name="T92" fmla="*/ 2 w 320"/>
                <a:gd name="T93" fmla="*/ 279 h 379"/>
                <a:gd name="T94" fmla="*/ 44 w 320"/>
                <a:gd name="T95" fmla="*/ 310 h 379"/>
                <a:gd name="T96" fmla="*/ 46 w 320"/>
                <a:gd name="T97" fmla="*/ 312 h 379"/>
                <a:gd name="T98" fmla="*/ 54 w 320"/>
                <a:gd name="T99" fmla="*/ 334 h 379"/>
                <a:gd name="T100" fmla="*/ 50 w 320"/>
                <a:gd name="T101" fmla="*/ 347 h 379"/>
                <a:gd name="T102" fmla="*/ 50 w 320"/>
                <a:gd name="T103" fmla="*/ 349 h 379"/>
                <a:gd name="T104" fmla="*/ 39 w 320"/>
                <a:gd name="T10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20" h="379">
                  <a:moveTo>
                    <a:pt x="39" y="379"/>
                  </a:moveTo>
                  <a:lnTo>
                    <a:pt x="52" y="364"/>
                  </a:lnTo>
                  <a:lnTo>
                    <a:pt x="94" y="360"/>
                  </a:lnTo>
                  <a:lnTo>
                    <a:pt x="98" y="329"/>
                  </a:lnTo>
                  <a:lnTo>
                    <a:pt x="118" y="318"/>
                  </a:lnTo>
                  <a:lnTo>
                    <a:pt x="139" y="318"/>
                  </a:lnTo>
                  <a:lnTo>
                    <a:pt x="166" y="340"/>
                  </a:lnTo>
                  <a:lnTo>
                    <a:pt x="183" y="325"/>
                  </a:lnTo>
                  <a:lnTo>
                    <a:pt x="163" y="292"/>
                  </a:lnTo>
                  <a:lnTo>
                    <a:pt x="155" y="262"/>
                  </a:lnTo>
                  <a:lnTo>
                    <a:pt x="176" y="238"/>
                  </a:lnTo>
                  <a:lnTo>
                    <a:pt x="194" y="232"/>
                  </a:lnTo>
                  <a:lnTo>
                    <a:pt x="224" y="264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5" y="266"/>
                  </a:lnTo>
                  <a:lnTo>
                    <a:pt x="303" y="238"/>
                  </a:lnTo>
                  <a:lnTo>
                    <a:pt x="257" y="210"/>
                  </a:lnTo>
                  <a:lnTo>
                    <a:pt x="257" y="210"/>
                  </a:lnTo>
                  <a:lnTo>
                    <a:pt x="257" y="208"/>
                  </a:lnTo>
                  <a:lnTo>
                    <a:pt x="259" y="184"/>
                  </a:lnTo>
                  <a:lnTo>
                    <a:pt x="259" y="184"/>
                  </a:lnTo>
                  <a:lnTo>
                    <a:pt x="259" y="182"/>
                  </a:lnTo>
                  <a:lnTo>
                    <a:pt x="320" y="136"/>
                  </a:lnTo>
                  <a:lnTo>
                    <a:pt x="320" y="97"/>
                  </a:lnTo>
                  <a:lnTo>
                    <a:pt x="316" y="71"/>
                  </a:lnTo>
                  <a:lnTo>
                    <a:pt x="299" y="54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90" y="61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72" y="56"/>
                  </a:lnTo>
                  <a:lnTo>
                    <a:pt x="207" y="0"/>
                  </a:lnTo>
                  <a:lnTo>
                    <a:pt x="196" y="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79" y="52"/>
                  </a:lnTo>
                  <a:lnTo>
                    <a:pt x="181" y="65"/>
                  </a:lnTo>
                  <a:lnTo>
                    <a:pt x="194" y="82"/>
                  </a:lnTo>
                  <a:lnTo>
                    <a:pt x="196" y="82"/>
                  </a:lnTo>
                  <a:lnTo>
                    <a:pt x="194" y="84"/>
                  </a:lnTo>
                  <a:lnTo>
                    <a:pt x="187" y="100"/>
                  </a:lnTo>
                  <a:lnTo>
                    <a:pt x="187" y="100"/>
                  </a:lnTo>
                  <a:lnTo>
                    <a:pt x="185" y="102"/>
                  </a:lnTo>
                  <a:lnTo>
                    <a:pt x="174" y="108"/>
                  </a:lnTo>
                  <a:lnTo>
                    <a:pt x="172" y="108"/>
                  </a:lnTo>
                  <a:lnTo>
                    <a:pt x="172" y="108"/>
                  </a:lnTo>
                  <a:lnTo>
                    <a:pt x="150" y="87"/>
                  </a:lnTo>
                  <a:lnTo>
                    <a:pt x="142" y="80"/>
                  </a:lnTo>
                  <a:lnTo>
                    <a:pt x="129" y="78"/>
                  </a:lnTo>
                  <a:lnTo>
                    <a:pt x="113" y="84"/>
                  </a:lnTo>
                  <a:lnTo>
                    <a:pt x="111" y="87"/>
                  </a:lnTo>
                  <a:lnTo>
                    <a:pt x="111" y="8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45"/>
                  </a:lnTo>
                  <a:lnTo>
                    <a:pt x="83" y="30"/>
                  </a:lnTo>
                  <a:lnTo>
                    <a:pt x="70" y="28"/>
                  </a:lnTo>
                  <a:lnTo>
                    <a:pt x="41" y="45"/>
                  </a:lnTo>
                  <a:lnTo>
                    <a:pt x="35" y="65"/>
                  </a:lnTo>
                  <a:lnTo>
                    <a:pt x="50" y="100"/>
                  </a:lnTo>
                  <a:lnTo>
                    <a:pt x="63" y="110"/>
                  </a:lnTo>
                  <a:lnTo>
                    <a:pt x="124" y="130"/>
                  </a:lnTo>
                  <a:lnTo>
                    <a:pt x="137" y="123"/>
                  </a:lnTo>
                  <a:lnTo>
                    <a:pt x="137" y="121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66" y="136"/>
                  </a:lnTo>
                  <a:lnTo>
                    <a:pt x="168" y="139"/>
                  </a:lnTo>
                  <a:lnTo>
                    <a:pt x="166" y="13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35" y="156"/>
                  </a:lnTo>
                  <a:lnTo>
                    <a:pt x="126" y="180"/>
                  </a:lnTo>
                  <a:lnTo>
                    <a:pt x="126" y="182"/>
                  </a:lnTo>
                  <a:lnTo>
                    <a:pt x="126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96" y="171"/>
                  </a:lnTo>
                  <a:lnTo>
                    <a:pt x="59" y="193"/>
                  </a:lnTo>
                  <a:lnTo>
                    <a:pt x="37" y="230"/>
                  </a:lnTo>
                  <a:lnTo>
                    <a:pt x="33" y="251"/>
                  </a:lnTo>
                  <a:lnTo>
                    <a:pt x="33" y="253"/>
                  </a:lnTo>
                  <a:lnTo>
                    <a:pt x="33" y="253"/>
                  </a:lnTo>
                  <a:lnTo>
                    <a:pt x="4" y="260"/>
                  </a:lnTo>
                  <a:lnTo>
                    <a:pt x="2" y="277"/>
                  </a:lnTo>
                  <a:lnTo>
                    <a:pt x="2" y="279"/>
                  </a:lnTo>
                  <a:lnTo>
                    <a:pt x="0" y="297"/>
                  </a:lnTo>
                  <a:lnTo>
                    <a:pt x="44" y="310"/>
                  </a:lnTo>
                  <a:lnTo>
                    <a:pt x="46" y="312"/>
                  </a:lnTo>
                  <a:lnTo>
                    <a:pt x="46" y="312"/>
                  </a:lnTo>
                  <a:lnTo>
                    <a:pt x="54" y="331"/>
                  </a:lnTo>
                  <a:lnTo>
                    <a:pt x="54" y="334"/>
                  </a:lnTo>
                  <a:lnTo>
                    <a:pt x="54" y="334"/>
                  </a:lnTo>
                  <a:lnTo>
                    <a:pt x="50" y="347"/>
                  </a:lnTo>
                  <a:lnTo>
                    <a:pt x="50" y="349"/>
                  </a:lnTo>
                  <a:lnTo>
                    <a:pt x="50" y="349"/>
                  </a:lnTo>
                  <a:lnTo>
                    <a:pt x="33" y="362"/>
                  </a:lnTo>
                  <a:lnTo>
                    <a:pt x="39" y="379"/>
                  </a:lnTo>
                  <a:lnTo>
                    <a:pt x="39" y="37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30">
              <a:extLst>
                <a:ext uri="{FF2B5EF4-FFF2-40B4-BE49-F238E27FC236}">
                  <a16:creationId xmlns:a16="http://schemas.microsoft.com/office/drawing/2014/main" xmlns="" id="{75F6A740-9D8D-47FE-96EE-4C9057CFC3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6" y="2250"/>
              <a:ext cx="484" cy="548"/>
            </a:xfrm>
            <a:custGeom>
              <a:avLst/>
              <a:gdLst>
                <a:gd name="T0" fmla="*/ 360 w 484"/>
                <a:gd name="T1" fmla="*/ 20 h 548"/>
                <a:gd name="T2" fmla="*/ 351 w 484"/>
                <a:gd name="T3" fmla="*/ 37 h 548"/>
                <a:gd name="T4" fmla="*/ 314 w 484"/>
                <a:gd name="T5" fmla="*/ 87 h 548"/>
                <a:gd name="T6" fmla="*/ 314 w 484"/>
                <a:gd name="T7" fmla="*/ 87 h 548"/>
                <a:gd name="T8" fmla="*/ 259 w 484"/>
                <a:gd name="T9" fmla="*/ 139 h 548"/>
                <a:gd name="T10" fmla="*/ 214 w 484"/>
                <a:gd name="T11" fmla="*/ 160 h 548"/>
                <a:gd name="T12" fmla="*/ 227 w 484"/>
                <a:gd name="T13" fmla="*/ 210 h 548"/>
                <a:gd name="T14" fmla="*/ 227 w 484"/>
                <a:gd name="T15" fmla="*/ 212 h 548"/>
                <a:gd name="T16" fmla="*/ 203 w 484"/>
                <a:gd name="T17" fmla="*/ 264 h 548"/>
                <a:gd name="T18" fmla="*/ 203 w 484"/>
                <a:gd name="T19" fmla="*/ 267 h 548"/>
                <a:gd name="T20" fmla="*/ 190 w 484"/>
                <a:gd name="T21" fmla="*/ 284 h 548"/>
                <a:gd name="T22" fmla="*/ 144 w 484"/>
                <a:gd name="T23" fmla="*/ 286 h 548"/>
                <a:gd name="T24" fmla="*/ 139 w 484"/>
                <a:gd name="T25" fmla="*/ 314 h 548"/>
                <a:gd name="T26" fmla="*/ 120 w 484"/>
                <a:gd name="T27" fmla="*/ 325 h 548"/>
                <a:gd name="T28" fmla="*/ 118 w 484"/>
                <a:gd name="T29" fmla="*/ 325 h 548"/>
                <a:gd name="T30" fmla="*/ 74 w 484"/>
                <a:gd name="T31" fmla="*/ 345 h 548"/>
                <a:gd name="T32" fmla="*/ 74 w 484"/>
                <a:gd name="T33" fmla="*/ 345 h 548"/>
                <a:gd name="T34" fmla="*/ 0 w 484"/>
                <a:gd name="T35" fmla="*/ 390 h 548"/>
                <a:gd name="T36" fmla="*/ 22 w 484"/>
                <a:gd name="T37" fmla="*/ 420 h 548"/>
                <a:gd name="T38" fmla="*/ 72 w 484"/>
                <a:gd name="T39" fmla="*/ 440 h 548"/>
                <a:gd name="T40" fmla="*/ 87 w 484"/>
                <a:gd name="T41" fmla="*/ 436 h 548"/>
                <a:gd name="T42" fmla="*/ 153 w 484"/>
                <a:gd name="T43" fmla="*/ 492 h 548"/>
                <a:gd name="T44" fmla="*/ 177 w 484"/>
                <a:gd name="T45" fmla="*/ 490 h 548"/>
                <a:gd name="T46" fmla="*/ 179 w 484"/>
                <a:gd name="T47" fmla="*/ 490 h 548"/>
                <a:gd name="T48" fmla="*/ 198 w 484"/>
                <a:gd name="T49" fmla="*/ 509 h 548"/>
                <a:gd name="T50" fmla="*/ 200 w 484"/>
                <a:gd name="T51" fmla="*/ 520 h 548"/>
                <a:gd name="T52" fmla="*/ 246 w 484"/>
                <a:gd name="T53" fmla="*/ 507 h 548"/>
                <a:gd name="T54" fmla="*/ 288 w 484"/>
                <a:gd name="T55" fmla="*/ 522 h 548"/>
                <a:gd name="T56" fmla="*/ 288 w 484"/>
                <a:gd name="T57" fmla="*/ 522 h 548"/>
                <a:gd name="T58" fmla="*/ 327 w 484"/>
                <a:gd name="T59" fmla="*/ 533 h 548"/>
                <a:gd name="T60" fmla="*/ 329 w 484"/>
                <a:gd name="T61" fmla="*/ 533 h 548"/>
                <a:gd name="T62" fmla="*/ 377 w 484"/>
                <a:gd name="T63" fmla="*/ 544 h 548"/>
                <a:gd name="T64" fmla="*/ 377 w 484"/>
                <a:gd name="T65" fmla="*/ 509 h 548"/>
                <a:gd name="T66" fmla="*/ 394 w 484"/>
                <a:gd name="T67" fmla="*/ 470 h 548"/>
                <a:gd name="T68" fmla="*/ 397 w 484"/>
                <a:gd name="T69" fmla="*/ 470 h 548"/>
                <a:gd name="T70" fmla="*/ 484 w 484"/>
                <a:gd name="T71" fmla="*/ 433 h 548"/>
                <a:gd name="T72" fmla="*/ 466 w 484"/>
                <a:gd name="T73" fmla="*/ 407 h 548"/>
                <a:gd name="T74" fmla="*/ 469 w 484"/>
                <a:gd name="T75" fmla="*/ 384 h 548"/>
                <a:gd name="T76" fmla="*/ 475 w 484"/>
                <a:gd name="T77" fmla="*/ 340 h 548"/>
                <a:gd name="T78" fmla="*/ 431 w 484"/>
                <a:gd name="T79" fmla="*/ 312 h 548"/>
                <a:gd name="T80" fmla="*/ 423 w 484"/>
                <a:gd name="T81" fmla="*/ 293 h 548"/>
                <a:gd name="T82" fmla="*/ 423 w 484"/>
                <a:gd name="T83" fmla="*/ 290 h 548"/>
                <a:gd name="T84" fmla="*/ 442 w 484"/>
                <a:gd name="T85" fmla="*/ 234 h 548"/>
                <a:gd name="T86" fmla="*/ 434 w 484"/>
                <a:gd name="T87" fmla="*/ 189 h 548"/>
                <a:gd name="T88" fmla="*/ 436 w 484"/>
                <a:gd name="T89" fmla="*/ 186 h 548"/>
                <a:gd name="T90" fmla="*/ 455 w 484"/>
                <a:gd name="T91" fmla="*/ 124 h 548"/>
                <a:gd name="T92" fmla="*/ 390 w 484"/>
                <a:gd name="T93" fmla="*/ 41 h 548"/>
                <a:gd name="T94" fmla="*/ 388 w 484"/>
                <a:gd name="T95" fmla="*/ 39 h 548"/>
                <a:gd name="T96" fmla="*/ 370 w 484"/>
                <a:gd name="T97" fmla="*/ 0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84" h="548">
                  <a:moveTo>
                    <a:pt x="370" y="0"/>
                  </a:moveTo>
                  <a:lnTo>
                    <a:pt x="360" y="20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51" y="3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314" y="87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14" y="160"/>
                  </a:lnTo>
                  <a:lnTo>
                    <a:pt x="211" y="182"/>
                  </a:lnTo>
                  <a:lnTo>
                    <a:pt x="227" y="210"/>
                  </a:lnTo>
                  <a:lnTo>
                    <a:pt x="227" y="210"/>
                  </a:lnTo>
                  <a:lnTo>
                    <a:pt x="227" y="212"/>
                  </a:lnTo>
                  <a:lnTo>
                    <a:pt x="207" y="234"/>
                  </a:lnTo>
                  <a:lnTo>
                    <a:pt x="203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190" y="282"/>
                  </a:lnTo>
                  <a:lnTo>
                    <a:pt x="190" y="284"/>
                  </a:lnTo>
                  <a:lnTo>
                    <a:pt x="187" y="284"/>
                  </a:lnTo>
                  <a:lnTo>
                    <a:pt x="144" y="286"/>
                  </a:lnTo>
                  <a:lnTo>
                    <a:pt x="139" y="312"/>
                  </a:lnTo>
                  <a:lnTo>
                    <a:pt x="139" y="314"/>
                  </a:lnTo>
                  <a:lnTo>
                    <a:pt x="137" y="314"/>
                  </a:lnTo>
                  <a:lnTo>
                    <a:pt x="120" y="325"/>
                  </a:lnTo>
                  <a:lnTo>
                    <a:pt x="118" y="327"/>
                  </a:lnTo>
                  <a:lnTo>
                    <a:pt x="118" y="325"/>
                  </a:lnTo>
                  <a:lnTo>
                    <a:pt x="100" y="306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74" y="345"/>
                  </a:lnTo>
                  <a:lnTo>
                    <a:pt x="33" y="349"/>
                  </a:lnTo>
                  <a:lnTo>
                    <a:pt x="0" y="390"/>
                  </a:lnTo>
                  <a:lnTo>
                    <a:pt x="4" y="410"/>
                  </a:lnTo>
                  <a:lnTo>
                    <a:pt x="22" y="420"/>
                  </a:lnTo>
                  <a:lnTo>
                    <a:pt x="59" y="438"/>
                  </a:lnTo>
                  <a:lnTo>
                    <a:pt x="72" y="440"/>
                  </a:lnTo>
                  <a:lnTo>
                    <a:pt x="85" y="436"/>
                  </a:lnTo>
                  <a:lnTo>
                    <a:pt x="87" y="436"/>
                  </a:lnTo>
                  <a:lnTo>
                    <a:pt x="87" y="438"/>
                  </a:lnTo>
                  <a:lnTo>
                    <a:pt x="153" y="492"/>
                  </a:lnTo>
                  <a:lnTo>
                    <a:pt x="168" y="496"/>
                  </a:lnTo>
                  <a:lnTo>
                    <a:pt x="177" y="490"/>
                  </a:lnTo>
                  <a:lnTo>
                    <a:pt x="179" y="490"/>
                  </a:lnTo>
                  <a:lnTo>
                    <a:pt x="179" y="490"/>
                  </a:lnTo>
                  <a:lnTo>
                    <a:pt x="196" y="507"/>
                  </a:lnTo>
                  <a:lnTo>
                    <a:pt x="198" y="509"/>
                  </a:lnTo>
                  <a:lnTo>
                    <a:pt x="198" y="509"/>
                  </a:lnTo>
                  <a:lnTo>
                    <a:pt x="200" y="520"/>
                  </a:lnTo>
                  <a:lnTo>
                    <a:pt x="244" y="507"/>
                  </a:lnTo>
                  <a:lnTo>
                    <a:pt x="246" y="507"/>
                  </a:lnTo>
                  <a:lnTo>
                    <a:pt x="246" y="507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288" y="522"/>
                  </a:lnTo>
                  <a:lnTo>
                    <a:pt x="305" y="544"/>
                  </a:lnTo>
                  <a:lnTo>
                    <a:pt x="327" y="533"/>
                  </a:lnTo>
                  <a:lnTo>
                    <a:pt x="329" y="533"/>
                  </a:lnTo>
                  <a:lnTo>
                    <a:pt x="329" y="533"/>
                  </a:lnTo>
                  <a:lnTo>
                    <a:pt x="362" y="548"/>
                  </a:lnTo>
                  <a:lnTo>
                    <a:pt x="377" y="544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77" y="509"/>
                  </a:lnTo>
                  <a:lnTo>
                    <a:pt x="394" y="470"/>
                  </a:lnTo>
                  <a:lnTo>
                    <a:pt x="397" y="470"/>
                  </a:lnTo>
                  <a:lnTo>
                    <a:pt x="397" y="470"/>
                  </a:lnTo>
                  <a:lnTo>
                    <a:pt x="462" y="472"/>
                  </a:lnTo>
                  <a:lnTo>
                    <a:pt x="484" y="433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6" y="407"/>
                  </a:lnTo>
                  <a:lnTo>
                    <a:pt x="469" y="384"/>
                  </a:lnTo>
                  <a:lnTo>
                    <a:pt x="469" y="384"/>
                  </a:lnTo>
                  <a:lnTo>
                    <a:pt x="475" y="340"/>
                  </a:lnTo>
                  <a:lnTo>
                    <a:pt x="431" y="312"/>
                  </a:lnTo>
                  <a:lnTo>
                    <a:pt x="431" y="312"/>
                  </a:lnTo>
                  <a:lnTo>
                    <a:pt x="429" y="312"/>
                  </a:lnTo>
                  <a:lnTo>
                    <a:pt x="423" y="293"/>
                  </a:lnTo>
                  <a:lnTo>
                    <a:pt x="423" y="290"/>
                  </a:lnTo>
                  <a:lnTo>
                    <a:pt x="423" y="290"/>
                  </a:lnTo>
                  <a:lnTo>
                    <a:pt x="449" y="260"/>
                  </a:lnTo>
                  <a:lnTo>
                    <a:pt x="442" y="234"/>
                  </a:lnTo>
                  <a:lnTo>
                    <a:pt x="442" y="234"/>
                  </a:lnTo>
                  <a:lnTo>
                    <a:pt x="434" y="189"/>
                  </a:lnTo>
                  <a:lnTo>
                    <a:pt x="434" y="189"/>
                  </a:lnTo>
                  <a:lnTo>
                    <a:pt x="436" y="186"/>
                  </a:lnTo>
                  <a:lnTo>
                    <a:pt x="455" y="158"/>
                  </a:lnTo>
                  <a:lnTo>
                    <a:pt x="455" y="124"/>
                  </a:lnTo>
                  <a:lnTo>
                    <a:pt x="431" y="65"/>
                  </a:lnTo>
                  <a:lnTo>
                    <a:pt x="390" y="41"/>
                  </a:lnTo>
                  <a:lnTo>
                    <a:pt x="388" y="41"/>
                  </a:lnTo>
                  <a:lnTo>
                    <a:pt x="388" y="39"/>
                  </a:lnTo>
                  <a:lnTo>
                    <a:pt x="381" y="11"/>
                  </a:lnTo>
                  <a:lnTo>
                    <a:pt x="370" y="0"/>
                  </a:lnTo>
                  <a:lnTo>
                    <a:pt x="37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31">
              <a:extLst>
                <a:ext uri="{FF2B5EF4-FFF2-40B4-BE49-F238E27FC236}">
                  <a16:creationId xmlns:a16="http://schemas.microsoft.com/office/drawing/2014/main" xmlns="" id="{6D5C96BE-A3AC-43EC-8E19-7A3AF6366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9" y="2003"/>
              <a:ext cx="1063" cy="832"/>
            </a:xfrm>
            <a:custGeom>
              <a:avLst/>
              <a:gdLst>
                <a:gd name="T0" fmla="*/ 220 w 1063"/>
                <a:gd name="T1" fmla="*/ 32 h 832"/>
                <a:gd name="T2" fmla="*/ 187 w 1063"/>
                <a:gd name="T3" fmla="*/ 35 h 832"/>
                <a:gd name="T4" fmla="*/ 174 w 1063"/>
                <a:gd name="T5" fmla="*/ 17 h 832"/>
                <a:gd name="T6" fmla="*/ 115 w 1063"/>
                <a:gd name="T7" fmla="*/ 93 h 832"/>
                <a:gd name="T8" fmla="*/ 0 w 1063"/>
                <a:gd name="T9" fmla="*/ 243 h 832"/>
                <a:gd name="T10" fmla="*/ 13 w 1063"/>
                <a:gd name="T11" fmla="*/ 258 h 832"/>
                <a:gd name="T12" fmla="*/ 61 w 1063"/>
                <a:gd name="T13" fmla="*/ 310 h 832"/>
                <a:gd name="T14" fmla="*/ 87 w 1063"/>
                <a:gd name="T15" fmla="*/ 368 h 832"/>
                <a:gd name="T16" fmla="*/ 87 w 1063"/>
                <a:gd name="T17" fmla="*/ 405 h 832"/>
                <a:gd name="T18" fmla="*/ 74 w 1063"/>
                <a:gd name="T19" fmla="*/ 481 h 832"/>
                <a:gd name="T20" fmla="*/ 80 w 1063"/>
                <a:gd name="T21" fmla="*/ 509 h 832"/>
                <a:gd name="T22" fmla="*/ 61 w 1063"/>
                <a:gd name="T23" fmla="*/ 557 h 832"/>
                <a:gd name="T24" fmla="*/ 106 w 1063"/>
                <a:gd name="T25" fmla="*/ 587 h 832"/>
                <a:gd name="T26" fmla="*/ 98 w 1063"/>
                <a:gd name="T27" fmla="*/ 654 h 832"/>
                <a:gd name="T28" fmla="*/ 161 w 1063"/>
                <a:gd name="T29" fmla="*/ 650 h 832"/>
                <a:gd name="T30" fmla="*/ 189 w 1063"/>
                <a:gd name="T31" fmla="*/ 661 h 832"/>
                <a:gd name="T32" fmla="*/ 220 w 1063"/>
                <a:gd name="T33" fmla="*/ 652 h 832"/>
                <a:gd name="T34" fmla="*/ 255 w 1063"/>
                <a:gd name="T35" fmla="*/ 646 h 832"/>
                <a:gd name="T36" fmla="*/ 266 w 1063"/>
                <a:gd name="T37" fmla="*/ 635 h 832"/>
                <a:gd name="T38" fmla="*/ 305 w 1063"/>
                <a:gd name="T39" fmla="*/ 615 h 832"/>
                <a:gd name="T40" fmla="*/ 368 w 1063"/>
                <a:gd name="T41" fmla="*/ 654 h 832"/>
                <a:gd name="T42" fmla="*/ 390 w 1063"/>
                <a:gd name="T43" fmla="*/ 661 h 832"/>
                <a:gd name="T44" fmla="*/ 449 w 1063"/>
                <a:gd name="T45" fmla="*/ 780 h 832"/>
                <a:gd name="T46" fmla="*/ 560 w 1063"/>
                <a:gd name="T47" fmla="*/ 787 h 832"/>
                <a:gd name="T48" fmla="*/ 584 w 1063"/>
                <a:gd name="T49" fmla="*/ 771 h 832"/>
                <a:gd name="T50" fmla="*/ 612 w 1063"/>
                <a:gd name="T51" fmla="*/ 774 h 832"/>
                <a:gd name="T52" fmla="*/ 638 w 1063"/>
                <a:gd name="T53" fmla="*/ 698 h 832"/>
                <a:gd name="T54" fmla="*/ 673 w 1063"/>
                <a:gd name="T55" fmla="*/ 672 h 832"/>
                <a:gd name="T56" fmla="*/ 710 w 1063"/>
                <a:gd name="T57" fmla="*/ 683 h 832"/>
                <a:gd name="T58" fmla="*/ 832 w 1063"/>
                <a:gd name="T59" fmla="*/ 715 h 832"/>
                <a:gd name="T60" fmla="*/ 945 w 1063"/>
                <a:gd name="T61" fmla="*/ 717 h 832"/>
                <a:gd name="T62" fmla="*/ 980 w 1063"/>
                <a:gd name="T63" fmla="*/ 741 h 832"/>
                <a:gd name="T64" fmla="*/ 1063 w 1063"/>
                <a:gd name="T65" fmla="*/ 702 h 832"/>
                <a:gd name="T66" fmla="*/ 1017 w 1063"/>
                <a:gd name="T67" fmla="*/ 674 h 832"/>
                <a:gd name="T68" fmla="*/ 976 w 1063"/>
                <a:gd name="T69" fmla="*/ 589 h 832"/>
                <a:gd name="T70" fmla="*/ 948 w 1063"/>
                <a:gd name="T71" fmla="*/ 550 h 832"/>
                <a:gd name="T72" fmla="*/ 908 w 1063"/>
                <a:gd name="T73" fmla="*/ 550 h 832"/>
                <a:gd name="T74" fmla="*/ 837 w 1063"/>
                <a:gd name="T75" fmla="*/ 546 h 832"/>
                <a:gd name="T76" fmla="*/ 786 w 1063"/>
                <a:gd name="T77" fmla="*/ 542 h 832"/>
                <a:gd name="T78" fmla="*/ 736 w 1063"/>
                <a:gd name="T79" fmla="*/ 511 h 832"/>
                <a:gd name="T80" fmla="*/ 638 w 1063"/>
                <a:gd name="T81" fmla="*/ 438 h 832"/>
                <a:gd name="T82" fmla="*/ 586 w 1063"/>
                <a:gd name="T83" fmla="*/ 390 h 832"/>
                <a:gd name="T84" fmla="*/ 527 w 1063"/>
                <a:gd name="T85" fmla="*/ 388 h 832"/>
                <a:gd name="T86" fmla="*/ 512 w 1063"/>
                <a:gd name="T87" fmla="*/ 332 h 832"/>
                <a:gd name="T88" fmla="*/ 483 w 1063"/>
                <a:gd name="T89" fmla="*/ 243 h 832"/>
                <a:gd name="T90" fmla="*/ 396 w 1063"/>
                <a:gd name="T91" fmla="*/ 238 h 832"/>
                <a:gd name="T92" fmla="*/ 381 w 1063"/>
                <a:gd name="T93" fmla="*/ 223 h 832"/>
                <a:gd name="T94" fmla="*/ 270 w 1063"/>
                <a:gd name="T95" fmla="*/ 156 h 832"/>
                <a:gd name="T96" fmla="*/ 248 w 1063"/>
                <a:gd name="T97" fmla="*/ 110 h 832"/>
                <a:gd name="T98" fmla="*/ 279 w 1063"/>
                <a:gd name="T99" fmla="*/ 65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63" h="832">
                  <a:moveTo>
                    <a:pt x="281" y="0"/>
                  </a:moveTo>
                  <a:lnTo>
                    <a:pt x="257" y="0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220" y="32"/>
                  </a:lnTo>
                  <a:lnTo>
                    <a:pt x="187" y="35"/>
                  </a:lnTo>
                  <a:lnTo>
                    <a:pt x="187" y="35"/>
                  </a:lnTo>
                  <a:lnTo>
                    <a:pt x="185" y="32"/>
                  </a:lnTo>
                  <a:lnTo>
                    <a:pt x="174" y="17"/>
                  </a:lnTo>
                  <a:lnTo>
                    <a:pt x="124" y="63"/>
                  </a:lnTo>
                  <a:lnTo>
                    <a:pt x="115" y="91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61" y="141"/>
                  </a:lnTo>
                  <a:lnTo>
                    <a:pt x="0" y="243"/>
                  </a:lnTo>
                  <a:lnTo>
                    <a:pt x="13" y="256"/>
                  </a:lnTo>
                  <a:lnTo>
                    <a:pt x="13" y="256"/>
                  </a:lnTo>
                  <a:lnTo>
                    <a:pt x="13" y="258"/>
                  </a:lnTo>
                  <a:lnTo>
                    <a:pt x="19" y="286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61" y="310"/>
                  </a:lnTo>
                  <a:lnTo>
                    <a:pt x="87" y="368"/>
                  </a:lnTo>
                  <a:lnTo>
                    <a:pt x="87" y="368"/>
                  </a:lnTo>
                  <a:lnTo>
                    <a:pt x="87" y="371"/>
                  </a:lnTo>
                  <a:lnTo>
                    <a:pt x="87" y="405"/>
                  </a:lnTo>
                  <a:lnTo>
                    <a:pt x="87" y="405"/>
                  </a:lnTo>
                  <a:lnTo>
                    <a:pt x="87" y="407"/>
                  </a:lnTo>
                  <a:lnTo>
                    <a:pt x="65" y="436"/>
                  </a:lnTo>
                  <a:lnTo>
                    <a:pt x="74" y="481"/>
                  </a:lnTo>
                  <a:lnTo>
                    <a:pt x="74" y="481"/>
                  </a:lnTo>
                  <a:lnTo>
                    <a:pt x="80" y="507"/>
                  </a:lnTo>
                  <a:lnTo>
                    <a:pt x="80" y="509"/>
                  </a:lnTo>
                  <a:lnTo>
                    <a:pt x="80" y="509"/>
                  </a:lnTo>
                  <a:lnTo>
                    <a:pt x="54" y="540"/>
                  </a:lnTo>
                  <a:lnTo>
                    <a:pt x="61" y="557"/>
                  </a:lnTo>
                  <a:lnTo>
                    <a:pt x="106" y="585"/>
                  </a:lnTo>
                  <a:lnTo>
                    <a:pt x="106" y="585"/>
                  </a:lnTo>
                  <a:lnTo>
                    <a:pt x="106" y="587"/>
                  </a:lnTo>
                  <a:lnTo>
                    <a:pt x="100" y="631"/>
                  </a:lnTo>
                  <a:lnTo>
                    <a:pt x="100" y="631"/>
                  </a:lnTo>
                  <a:lnTo>
                    <a:pt x="98" y="654"/>
                  </a:lnTo>
                  <a:lnTo>
                    <a:pt x="115" y="678"/>
                  </a:lnTo>
                  <a:lnTo>
                    <a:pt x="148" y="672"/>
                  </a:lnTo>
                  <a:lnTo>
                    <a:pt x="161" y="650"/>
                  </a:lnTo>
                  <a:lnTo>
                    <a:pt x="161" y="648"/>
                  </a:lnTo>
                  <a:lnTo>
                    <a:pt x="163" y="648"/>
                  </a:lnTo>
                  <a:lnTo>
                    <a:pt x="189" y="661"/>
                  </a:lnTo>
                  <a:lnTo>
                    <a:pt x="209" y="661"/>
                  </a:lnTo>
                  <a:lnTo>
                    <a:pt x="218" y="652"/>
                  </a:lnTo>
                  <a:lnTo>
                    <a:pt x="220" y="652"/>
                  </a:lnTo>
                  <a:lnTo>
                    <a:pt x="220" y="652"/>
                  </a:lnTo>
                  <a:lnTo>
                    <a:pt x="237" y="654"/>
                  </a:lnTo>
                  <a:lnTo>
                    <a:pt x="255" y="646"/>
                  </a:lnTo>
                  <a:lnTo>
                    <a:pt x="263" y="637"/>
                  </a:lnTo>
                  <a:lnTo>
                    <a:pt x="263" y="635"/>
                  </a:lnTo>
                  <a:lnTo>
                    <a:pt x="266" y="635"/>
                  </a:lnTo>
                  <a:lnTo>
                    <a:pt x="296" y="637"/>
                  </a:lnTo>
                  <a:lnTo>
                    <a:pt x="303" y="620"/>
                  </a:lnTo>
                  <a:lnTo>
                    <a:pt x="305" y="615"/>
                  </a:lnTo>
                  <a:lnTo>
                    <a:pt x="307" y="618"/>
                  </a:lnTo>
                  <a:lnTo>
                    <a:pt x="329" y="639"/>
                  </a:lnTo>
                  <a:lnTo>
                    <a:pt x="368" y="654"/>
                  </a:lnTo>
                  <a:lnTo>
                    <a:pt x="388" y="661"/>
                  </a:lnTo>
                  <a:lnTo>
                    <a:pt x="390" y="661"/>
                  </a:lnTo>
                  <a:lnTo>
                    <a:pt x="390" y="661"/>
                  </a:lnTo>
                  <a:lnTo>
                    <a:pt x="414" y="717"/>
                  </a:lnTo>
                  <a:lnTo>
                    <a:pt x="414" y="717"/>
                  </a:lnTo>
                  <a:lnTo>
                    <a:pt x="449" y="780"/>
                  </a:lnTo>
                  <a:lnTo>
                    <a:pt x="516" y="832"/>
                  </a:lnTo>
                  <a:lnTo>
                    <a:pt x="555" y="810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60" y="787"/>
                  </a:lnTo>
                  <a:lnTo>
                    <a:pt x="584" y="771"/>
                  </a:lnTo>
                  <a:lnTo>
                    <a:pt x="584" y="771"/>
                  </a:lnTo>
                  <a:lnTo>
                    <a:pt x="586" y="771"/>
                  </a:lnTo>
                  <a:lnTo>
                    <a:pt x="612" y="774"/>
                  </a:lnTo>
                  <a:lnTo>
                    <a:pt x="636" y="698"/>
                  </a:lnTo>
                  <a:lnTo>
                    <a:pt x="636" y="698"/>
                  </a:lnTo>
                  <a:lnTo>
                    <a:pt x="638" y="698"/>
                  </a:lnTo>
                  <a:lnTo>
                    <a:pt x="671" y="672"/>
                  </a:lnTo>
                  <a:lnTo>
                    <a:pt x="671" y="672"/>
                  </a:lnTo>
                  <a:lnTo>
                    <a:pt x="673" y="672"/>
                  </a:lnTo>
                  <a:lnTo>
                    <a:pt x="708" y="683"/>
                  </a:lnTo>
                  <a:lnTo>
                    <a:pt x="710" y="683"/>
                  </a:lnTo>
                  <a:lnTo>
                    <a:pt x="710" y="683"/>
                  </a:lnTo>
                  <a:lnTo>
                    <a:pt x="758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32" y="715"/>
                  </a:lnTo>
                  <a:lnTo>
                    <a:pt x="884" y="754"/>
                  </a:lnTo>
                  <a:lnTo>
                    <a:pt x="945" y="717"/>
                  </a:lnTo>
                  <a:lnTo>
                    <a:pt x="948" y="717"/>
                  </a:lnTo>
                  <a:lnTo>
                    <a:pt x="948" y="717"/>
                  </a:lnTo>
                  <a:lnTo>
                    <a:pt x="980" y="741"/>
                  </a:lnTo>
                  <a:lnTo>
                    <a:pt x="1015" y="737"/>
                  </a:lnTo>
                  <a:lnTo>
                    <a:pt x="1054" y="719"/>
                  </a:lnTo>
                  <a:lnTo>
                    <a:pt x="1063" y="702"/>
                  </a:lnTo>
                  <a:lnTo>
                    <a:pt x="1017" y="676"/>
                  </a:lnTo>
                  <a:lnTo>
                    <a:pt x="1017" y="674"/>
                  </a:lnTo>
                  <a:lnTo>
                    <a:pt x="1017" y="674"/>
                  </a:lnTo>
                  <a:lnTo>
                    <a:pt x="1017" y="618"/>
                  </a:lnTo>
                  <a:lnTo>
                    <a:pt x="989" y="592"/>
                  </a:lnTo>
                  <a:lnTo>
                    <a:pt x="976" y="589"/>
                  </a:lnTo>
                  <a:lnTo>
                    <a:pt x="974" y="589"/>
                  </a:lnTo>
                  <a:lnTo>
                    <a:pt x="974" y="589"/>
                  </a:lnTo>
                  <a:lnTo>
                    <a:pt x="948" y="550"/>
                  </a:lnTo>
                  <a:lnTo>
                    <a:pt x="911" y="550"/>
                  </a:lnTo>
                  <a:lnTo>
                    <a:pt x="911" y="550"/>
                  </a:lnTo>
                  <a:lnTo>
                    <a:pt x="908" y="550"/>
                  </a:lnTo>
                  <a:lnTo>
                    <a:pt x="874" y="518"/>
                  </a:lnTo>
                  <a:lnTo>
                    <a:pt x="837" y="546"/>
                  </a:lnTo>
                  <a:lnTo>
                    <a:pt x="837" y="546"/>
                  </a:lnTo>
                  <a:lnTo>
                    <a:pt x="834" y="546"/>
                  </a:lnTo>
                  <a:lnTo>
                    <a:pt x="786" y="542"/>
                  </a:lnTo>
                  <a:lnTo>
                    <a:pt x="786" y="542"/>
                  </a:lnTo>
                  <a:lnTo>
                    <a:pt x="784" y="542"/>
                  </a:lnTo>
                  <a:lnTo>
                    <a:pt x="738" y="511"/>
                  </a:lnTo>
                  <a:lnTo>
                    <a:pt x="736" y="511"/>
                  </a:lnTo>
                  <a:lnTo>
                    <a:pt x="736" y="511"/>
                  </a:lnTo>
                  <a:lnTo>
                    <a:pt x="710" y="46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638" y="438"/>
                  </a:lnTo>
                  <a:lnTo>
                    <a:pt x="586" y="390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8"/>
                  </a:lnTo>
                  <a:lnTo>
                    <a:pt x="527" y="351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2" y="332"/>
                  </a:lnTo>
                  <a:lnTo>
                    <a:pt x="510" y="275"/>
                  </a:lnTo>
                  <a:lnTo>
                    <a:pt x="483" y="243"/>
                  </a:lnTo>
                  <a:lnTo>
                    <a:pt x="398" y="238"/>
                  </a:lnTo>
                  <a:lnTo>
                    <a:pt x="396" y="238"/>
                  </a:lnTo>
                  <a:lnTo>
                    <a:pt x="396" y="238"/>
                  </a:lnTo>
                  <a:lnTo>
                    <a:pt x="383" y="225"/>
                  </a:lnTo>
                  <a:lnTo>
                    <a:pt x="381" y="225"/>
                  </a:lnTo>
                  <a:lnTo>
                    <a:pt x="381" y="223"/>
                  </a:lnTo>
                  <a:lnTo>
                    <a:pt x="381" y="188"/>
                  </a:lnTo>
                  <a:lnTo>
                    <a:pt x="346" y="162"/>
                  </a:lnTo>
                  <a:lnTo>
                    <a:pt x="270" y="156"/>
                  </a:lnTo>
                  <a:lnTo>
                    <a:pt x="270" y="156"/>
                  </a:lnTo>
                  <a:lnTo>
                    <a:pt x="268" y="154"/>
                  </a:lnTo>
                  <a:lnTo>
                    <a:pt x="248" y="110"/>
                  </a:lnTo>
                  <a:lnTo>
                    <a:pt x="246" y="110"/>
                  </a:lnTo>
                  <a:lnTo>
                    <a:pt x="248" y="108"/>
                  </a:lnTo>
                  <a:lnTo>
                    <a:pt x="279" y="65"/>
                  </a:lnTo>
                  <a:lnTo>
                    <a:pt x="281" y="0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32">
              <a:extLst>
                <a:ext uri="{FF2B5EF4-FFF2-40B4-BE49-F238E27FC236}">
                  <a16:creationId xmlns:a16="http://schemas.microsoft.com/office/drawing/2014/main" xmlns="" id="{34952CC3-E7D0-48E2-8C40-ACAA6D8E78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3" y="1522"/>
              <a:ext cx="283" cy="260"/>
            </a:xfrm>
            <a:custGeom>
              <a:avLst/>
              <a:gdLst>
                <a:gd name="T0" fmla="*/ 74 w 283"/>
                <a:gd name="T1" fmla="*/ 9 h 260"/>
                <a:gd name="T2" fmla="*/ 67 w 283"/>
                <a:gd name="T3" fmla="*/ 78 h 260"/>
                <a:gd name="T4" fmla="*/ 67 w 283"/>
                <a:gd name="T5" fmla="*/ 80 h 260"/>
                <a:gd name="T6" fmla="*/ 26 w 283"/>
                <a:gd name="T7" fmla="*/ 110 h 260"/>
                <a:gd name="T8" fmla="*/ 24 w 283"/>
                <a:gd name="T9" fmla="*/ 113 h 260"/>
                <a:gd name="T10" fmla="*/ 6 w 283"/>
                <a:gd name="T11" fmla="*/ 128 h 260"/>
                <a:gd name="T12" fmla="*/ 6 w 283"/>
                <a:gd name="T13" fmla="*/ 128 h 260"/>
                <a:gd name="T14" fmla="*/ 13 w 283"/>
                <a:gd name="T15" fmla="*/ 147 h 260"/>
                <a:gd name="T16" fmla="*/ 87 w 283"/>
                <a:gd name="T17" fmla="*/ 178 h 260"/>
                <a:gd name="T18" fmla="*/ 89 w 283"/>
                <a:gd name="T19" fmla="*/ 178 h 260"/>
                <a:gd name="T20" fmla="*/ 152 w 283"/>
                <a:gd name="T21" fmla="*/ 197 h 260"/>
                <a:gd name="T22" fmla="*/ 157 w 283"/>
                <a:gd name="T23" fmla="*/ 180 h 260"/>
                <a:gd name="T24" fmla="*/ 165 w 283"/>
                <a:gd name="T25" fmla="*/ 171 h 260"/>
                <a:gd name="T26" fmla="*/ 170 w 283"/>
                <a:gd name="T27" fmla="*/ 171 h 260"/>
                <a:gd name="T28" fmla="*/ 192 w 283"/>
                <a:gd name="T29" fmla="*/ 188 h 260"/>
                <a:gd name="T30" fmla="*/ 196 w 283"/>
                <a:gd name="T31" fmla="*/ 208 h 260"/>
                <a:gd name="T32" fmla="*/ 246 w 283"/>
                <a:gd name="T33" fmla="*/ 227 h 260"/>
                <a:gd name="T34" fmla="*/ 246 w 283"/>
                <a:gd name="T35" fmla="*/ 230 h 260"/>
                <a:gd name="T36" fmla="*/ 283 w 283"/>
                <a:gd name="T37" fmla="*/ 245 h 260"/>
                <a:gd name="T38" fmla="*/ 261 w 283"/>
                <a:gd name="T39" fmla="*/ 206 h 260"/>
                <a:gd name="T40" fmla="*/ 261 w 283"/>
                <a:gd name="T41" fmla="*/ 204 h 260"/>
                <a:gd name="T42" fmla="*/ 274 w 283"/>
                <a:gd name="T43" fmla="*/ 154 h 260"/>
                <a:gd name="T44" fmla="*/ 259 w 283"/>
                <a:gd name="T45" fmla="*/ 126 h 260"/>
                <a:gd name="T46" fmla="*/ 264 w 283"/>
                <a:gd name="T47" fmla="*/ 106 h 260"/>
                <a:gd name="T48" fmla="*/ 248 w 283"/>
                <a:gd name="T49" fmla="*/ 104 h 260"/>
                <a:gd name="T50" fmla="*/ 246 w 283"/>
                <a:gd name="T51" fmla="*/ 91 h 260"/>
                <a:gd name="T52" fmla="*/ 220 w 283"/>
                <a:gd name="T53" fmla="*/ 89 h 260"/>
                <a:gd name="T54" fmla="*/ 211 w 283"/>
                <a:gd name="T55" fmla="*/ 76 h 260"/>
                <a:gd name="T56" fmla="*/ 211 w 283"/>
                <a:gd name="T57" fmla="*/ 74 h 260"/>
                <a:gd name="T58" fmla="*/ 218 w 283"/>
                <a:gd name="T59" fmla="*/ 48 h 260"/>
                <a:gd name="T60" fmla="*/ 194 w 283"/>
                <a:gd name="T61" fmla="*/ 48 h 260"/>
                <a:gd name="T62" fmla="*/ 192 w 283"/>
                <a:gd name="T63" fmla="*/ 50 h 260"/>
                <a:gd name="T64" fmla="*/ 176 w 283"/>
                <a:gd name="T65" fmla="*/ 48 h 260"/>
                <a:gd name="T66" fmla="*/ 163 w 283"/>
                <a:gd name="T67" fmla="*/ 35 h 260"/>
                <a:gd name="T68" fmla="*/ 141 w 283"/>
                <a:gd name="T69" fmla="*/ 39 h 260"/>
                <a:gd name="T70" fmla="*/ 131 w 283"/>
                <a:gd name="T71" fmla="*/ 17 h 260"/>
                <a:gd name="T72" fmla="*/ 94 w 283"/>
                <a:gd name="T73" fmla="*/ 22 h 260"/>
                <a:gd name="T74" fmla="*/ 89 w 283"/>
                <a:gd name="T75" fmla="*/ 19 h 260"/>
                <a:gd name="T76" fmla="*/ 83 w 283"/>
                <a:gd name="T77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3" h="260">
                  <a:moveTo>
                    <a:pt x="83" y="0"/>
                  </a:moveTo>
                  <a:lnTo>
                    <a:pt x="74" y="9"/>
                  </a:lnTo>
                  <a:lnTo>
                    <a:pt x="67" y="26"/>
                  </a:lnTo>
                  <a:lnTo>
                    <a:pt x="67" y="78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28" y="93"/>
                  </a:lnTo>
                  <a:lnTo>
                    <a:pt x="26" y="110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11" y="115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0" y="134"/>
                  </a:lnTo>
                  <a:lnTo>
                    <a:pt x="13" y="147"/>
                  </a:lnTo>
                  <a:lnTo>
                    <a:pt x="39" y="165"/>
                  </a:lnTo>
                  <a:lnTo>
                    <a:pt x="87" y="178"/>
                  </a:lnTo>
                  <a:lnTo>
                    <a:pt x="89" y="178"/>
                  </a:lnTo>
                  <a:lnTo>
                    <a:pt x="89" y="178"/>
                  </a:lnTo>
                  <a:lnTo>
                    <a:pt x="104" y="193"/>
                  </a:lnTo>
                  <a:lnTo>
                    <a:pt x="152" y="197"/>
                  </a:lnTo>
                  <a:lnTo>
                    <a:pt x="157" y="180"/>
                  </a:lnTo>
                  <a:lnTo>
                    <a:pt x="157" y="180"/>
                  </a:lnTo>
                  <a:lnTo>
                    <a:pt x="157" y="178"/>
                  </a:lnTo>
                  <a:lnTo>
                    <a:pt x="165" y="171"/>
                  </a:lnTo>
                  <a:lnTo>
                    <a:pt x="168" y="171"/>
                  </a:lnTo>
                  <a:lnTo>
                    <a:pt x="170" y="171"/>
                  </a:lnTo>
                  <a:lnTo>
                    <a:pt x="192" y="186"/>
                  </a:lnTo>
                  <a:lnTo>
                    <a:pt x="192" y="188"/>
                  </a:lnTo>
                  <a:lnTo>
                    <a:pt x="192" y="188"/>
                  </a:lnTo>
                  <a:lnTo>
                    <a:pt x="196" y="208"/>
                  </a:lnTo>
                  <a:lnTo>
                    <a:pt x="222" y="230"/>
                  </a:lnTo>
                  <a:lnTo>
                    <a:pt x="246" y="227"/>
                  </a:lnTo>
                  <a:lnTo>
                    <a:pt x="246" y="227"/>
                  </a:lnTo>
                  <a:lnTo>
                    <a:pt x="246" y="230"/>
                  </a:lnTo>
                  <a:lnTo>
                    <a:pt x="283" y="260"/>
                  </a:lnTo>
                  <a:lnTo>
                    <a:pt x="283" y="245"/>
                  </a:lnTo>
                  <a:lnTo>
                    <a:pt x="279" y="223"/>
                  </a:lnTo>
                  <a:lnTo>
                    <a:pt x="261" y="206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77" y="180"/>
                  </a:lnTo>
                  <a:lnTo>
                    <a:pt x="274" y="154"/>
                  </a:lnTo>
                  <a:lnTo>
                    <a:pt x="259" y="128"/>
                  </a:lnTo>
                  <a:lnTo>
                    <a:pt x="259" y="126"/>
                  </a:lnTo>
                  <a:lnTo>
                    <a:pt x="259" y="126"/>
                  </a:lnTo>
                  <a:lnTo>
                    <a:pt x="264" y="106"/>
                  </a:lnTo>
                  <a:lnTo>
                    <a:pt x="250" y="104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46" y="91"/>
                  </a:lnTo>
                  <a:lnTo>
                    <a:pt x="222" y="89"/>
                  </a:lnTo>
                  <a:lnTo>
                    <a:pt x="220" y="89"/>
                  </a:lnTo>
                  <a:lnTo>
                    <a:pt x="220" y="89"/>
                  </a:lnTo>
                  <a:lnTo>
                    <a:pt x="211" y="76"/>
                  </a:lnTo>
                  <a:lnTo>
                    <a:pt x="211" y="76"/>
                  </a:lnTo>
                  <a:lnTo>
                    <a:pt x="211" y="74"/>
                  </a:lnTo>
                  <a:lnTo>
                    <a:pt x="218" y="63"/>
                  </a:lnTo>
                  <a:lnTo>
                    <a:pt x="218" y="48"/>
                  </a:lnTo>
                  <a:lnTo>
                    <a:pt x="198" y="41"/>
                  </a:lnTo>
                  <a:lnTo>
                    <a:pt x="194" y="48"/>
                  </a:lnTo>
                  <a:lnTo>
                    <a:pt x="192" y="50"/>
                  </a:lnTo>
                  <a:lnTo>
                    <a:pt x="192" y="50"/>
                  </a:lnTo>
                  <a:lnTo>
                    <a:pt x="179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63" y="35"/>
                  </a:lnTo>
                  <a:lnTo>
                    <a:pt x="144" y="39"/>
                  </a:lnTo>
                  <a:lnTo>
                    <a:pt x="141" y="39"/>
                  </a:lnTo>
                  <a:lnTo>
                    <a:pt x="141" y="37"/>
                  </a:lnTo>
                  <a:lnTo>
                    <a:pt x="131" y="17"/>
                  </a:lnTo>
                  <a:lnTo>
                    <a:pt x="115" y="11"/>
                  </a:lnTo>
                  <a:lnTo>
                    <a:pt x="94" y="22"/>
                  </a:lnTo>
                  <a:lnTo>
                    <a:pt x="91" y="24"/>
                  </a:lnTo>
                  <a:lnTo>
                    <a:pt x="89" y="19"/>
                  </a:lnTo>
                  <a:lnTo>
                    <a:pt x="83" y="0"/>
                  </a:lnTo>
                  <a:lnTo>
                    <a:pt x="8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33">
              <a:extLst>
                <a:ext uri="{FF2B5EF4-FFF2-40B4-BE49-F238E27FC236}">
                  <a16:creationId xmlns:a16="http://schemas.microsoft.com/office/drawing/2014/main" xmlns="" id="{92D0AA01-D995-442B-AEF6-E80CAB86E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9" y="1617"/>
              <a:ext cx="512" cy="466"/>
            </a:xfrm>
            <a:custGeom>
              <a:avLst/>
              <a:gdLst>
                <a:gd name="T0" fmla="*/ 109 w 512"/>
                <a:gd name="T1" fmla="*/ 241 h 466"/>
                <a:gd name="T2" fmla="*/ 128 w 512"/>
                <a:gd name="T3" fmla="*/ 241 h 466"/>
                <a:gd name="T4" fmla="*/ 150 w 512"/>
                <a:gd name="T5" fmla="*/ 267 h 466"/>
                <a:gd name="T6" fmla="*/ 152 w 512"/>
                <a:gd name="T7" fmla="*/ 269 h 466"/>
                <a:gd name="T8" fmla="*/ 170 w 512"/>
                <a:gd name="T9" fmla="*/ 334 h 466"/>
                <a:gd name="T10" fmla="*/ 244 w 512"/>
                <a:gd name="T11" fmla="*/ 338 h 466"/>
                <a:gd name="T12" fmla="*/ 296 w 512"/>
                <a:gd name="T13" fmla="*/ 369 h 466"/>
                <a:gd name="T14" fmla="*/ 296 w 512"/>
                <a:gd name="T15" fmla="*/ 369 h 466"/>
                <a:gd name="T16" fmla="*/ 381 w 512"/>
                <a:gd name="T17" fmla="*/ 460 h 466"/>
                <a:gd name="T18" fmla="*/ 418 w 512"/>
                <a:gd name="T19" fmla="*/ 449 h 466"/>
                <a:gd name="T20" fmla="*/ 436 w 512"/>
                <a:gd name="T21" fmla="*/ 466 h 466"/>
                <a:gd name="T22" fmla="*/ 438 w 512"/>
                <a:gd name="T23" fmla="*/ 418 h 466"/>
                <a:gd name="T24" fmla="*/ 438 w 512"/>
                <a:gd name="T25" fmla="*/ 416 h 466"/>
                <a:gd name="T26" fmla="*/ 442 w 512"/>
                <a:gd name="T27" fmla="*/ 401 h 466"/>
                <a:gd name="T28" fmla="*/ 477 w 512"/>
                <a:gd name="T29" fmla="*/ 403 h 466"/>
                <a:gd name="T30" fmla="*/ 512 w 512"/>
                <a:gd name="T31" fmla="*/ 356 h 466"/>
                <a:gd name="T32" fmla="*/ 488 w 512"/>
                <a:gd name="T33" fmla="*/ 343 h 466"/>
                <a:gd name="T34" fmla="*/ 494 w 512"/>
                <a:gd name="T35" fmla="*/ 321 h 466"/>
                <a:gd name="T36" fmla="*/ 457 w 512"/>
                <a:gd name="T37" fmla="*/ 321 h 466"/>
                <a:gd name="T38" fmla="*/ 455 w 512"/>
                <a:gd name="T39" fmla="*/ 319 h 466"/>
                <a:gd name="T40" fmla="*/ 394 w 512"/>
                <a:gd name="T41" fmla="*/ 273 h 466"/>
                <a:gd name="T42" fmla="*/ 392 w 512"/>
                <a:gd name="T43" fmla="*/ 273 h 466"/>
                <a:gd name="T44" fmla="*/ 338 w 512"/>
                <a:gd name="T45" fmla="*/ 223 h 466"/>
                <a:gd name="T46" fmla="*/ 338 w 512"/>
                <a:gd name="T47" fmla="*/ 223 h 466"/>
                <a:gd name="T48" fmla="*/ 311 w 512"/>
                <a:gd name="T49" fmla="*/ 200 h 466"/>
                <a:gd name="T50" fmla="*/ 237 w 512"/>
                <a:gd name="T51" fmla="*/ 115 h 466"/>
                <a:gd name="T52" fmla="*/ 237 w 512"/>
                <a:gd name="T53" fmla="*/ 113 h 466"/>
                <a:gd name="T54" fmla="*/ 242 w 512"/>
                <a:gd name="T55" fmla="*/ 72 h 466"/>
                <a:gd name="T56" fmla="*/ 270 w 512"/>
                <a:gd name="T57" fmla="*/ 39 h 466"/>
                <a:gd name="T58" fmla="*/ 250 w 512"/>
                <a:gd name="T59" fmla="*/ 33 h 466"/>
                <a:gd name="T60" fmla="*/ 250 w 512"/>
                <a:gd name="T61" fmla="*/ 2 h 466"/>
                <a:gd name="T62" fmla="*/ 213 w 512"/>
                <a:gd name="T63" fmla="*/ 18 h 466"/>
                <a:gd name="T64" fmla="*/ 211 w 512"/>
                <a:gd name="T65" fmla="*/ 18 h 466"/>
                <a:gd name="T66" fmla="*/ 181 w 512"/>
                <a:gd name="T67" fmla="*/ 18 h 466"/>
                <a:gd name="T68" fmla="*/ 163 w 512"/>
                <a:gd name="T69" fmla="*/ 0 h 466"/>
                <a:gd name="T70" fmla="*/ 128 w 512"/>
                <a:gd name="T71" fmla="*/ 7 h 466"/>
                <a:gd name="T72" fmla="*/ 74 w 512"/>
                <a:gd name="T73" fmla="*/ 78 h 466"/>
                <a:gd name="T74" fmla="*/ 72 w 512"/>
                <a:gd name="T75" fmla="*/ 80 h 466"/>
                <a:gd name="T76" fmla="*/ 15 w 512"/>
                <a:gd name="T77" fmla="*/ 87 h 466"/>
                <a:gd name="T78" fmla="*/ 15 w 512"/>
                <a:gd name="T79" fmla="*/ 126 h 466"/>
                <a:gd name="T80" fmla="*/ 15 w 512"/>
                <a:gd name="T81" fmla="*/ 128 h 466"/>
                <a:gd name="T82" fmla="*/ 22 w 512"/>
                <a:gd name="T83" fmla="*/ 148 h 466"/>
                <a:gd name="T84" fmla="*/ 22 w 512"/>
                <a:gd name="T85" fmla="*/ 167 h 466"/>
                <a:gd name="T86" fmla="*/ 59 w 512"/>
                <a:gd name="T87" fmla="*/ 167 h 466"/>
                <a:gd name="T88" fmla="*/ 63 w 512"/>
                <a:gd name="T89" fmla="*/ 21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466">
                  <a:moveTo>
                    <a:pt x="63" y="210"/>
                  </a:moveTo>
                  <a:lnTo>
                    <a:pt x="10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50" y="267"/>
                  </a:lnTo>
                  <a:lnTo>
                    <a:pt x="152" y="269"/>
                  </a:lnTo>
                  <a:lnTo>
                    <a:pt x="152" y="269"/>
                  </a:lnTo>
                  <a:lnTo>
                    <a:pt x="141" y="308"/>
                  </a:lnTo>
                  <a:lnTo>
                    <a:pt x="170" y="334"/>
                  </a:lnTo>
                  <a:lnTo>
                    <a:pt x="244" y="338"/>
                  </a:lnTo>
                  <a:lnTo>
                    <a:pt x="244" y="338"/>
                  </a:lnTo>
                  <a:lnTo>
                    <a:pt x="246" y="338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296" y="369"/>
                  </a:lnTo>
                  <a:lnTo>
                    <a:pt x="329" y="429"/>
                  </a:lnTo>
                  <a:lnTo>
                    <a:pt x="381" y="460"/>
                  </a:lnTo>
                  <a:lnTo>
                    <a:pt x="416" y="451"/>
                  </a:lnTo>
                  <a:lnTo>
                    <a:pt x="418" y="449"/>
                  </a:lnTo>
                  <a:lnTo>
                    <a:pt x="418" y="451"/>
                  </a:lnTo>
                  <a:lnTo>
                    <a:pt x="436" y="466"/>
                  </a:lnTo>
                  <a:lnTo>
                    <a:pt x="460" y="440"/>
                  </a:lnTo>
                  <a:lnTo>
                    <a:pt x="438" y="418"/>
                  </a:lnTo>
                  <a:lnTo>
                    <a:pt x="436" y="418"/>
                  </a:lnTo>
                  <a:lnTo>
                    <a:pt x="438" y="416"/>
                  </a:lnTo>
                  <a:lnTo>
                    <a:pt x="442" y="403"/>
                  </a:lnTo>
                  <a:lnTo>
                    <a:pt x="442" y="401"/>
                  </a:lnTo>
                  <a:lnTo>
                    <a:pt x="444" y="401"/>
                  </a:lnTo>
                  <a:lnTo>
                    <a:pt x="477" y="403"/>
                  </a:lnTo>
                  <a:lnTo>
                    <a:pt x="512" y="379"/>
                  </a:lnTo>
                  <a:lnTo>
                    <a:pt x="512" y="356"/>
                  </a:lnTo>
                  <a:lnTo>
                    <a:pt x="488" y="345"/>
                  </a:lnTo>
                  <a:lnTo>
                    <a:pt x="488" y="343"/>
                  </a:lnTo>
                  <a:lnTo>
                    <a:pt x="488" y="340"/>
                  </a:lnTo>
                  <a:lnTo>
                    <a:pt x="494" y="321"/>
                  </a:lnTo>
                  <a:lnTo>
                    <a:pt x="473" y="314"/>
                  </a:lnTo>
                  <a:lnTo>
                    <a:pt x="457" y="321"/>
                  </a:lnTo>
                  <a:lnTo>
                    <a:pt x="455" y="321"/>
                  </a:lnTo>
                  <a:lnTo>
                    <a:pt x="455" y="319"/>
                  </a:lnTo>
                  <a:lnTo>
                    <a:pt x="438" y="273"/>
                  </a:lnTo>
                  <a:lnTo>
                    <a:pt x="394" y="273"/>
                  </a:lnTo>
                  <a:lnTo>
                    <a:pt x="392" y="273"/>
                  </a:lnTo>
                  <a:lnTo>
                    <a:pt x="392" y="273"/>
                  </a:lnTo>
                  <a:lnTo>
                    <a:pt x="364" y="241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38" y="223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311" y="200"/>
                  </a:lnTo>
                  <a:lnTo>
                    <a:pt x="237" y="115"/>
                  </a:lnTo>
                  <a:lnTo>
                    <a:pt x="237" y="115"/>
                  </a:lnTo>
                  <a:lnTo>
                    <a:pt x="237" y="113"/>
                  </a:lnTo>
                  <a:lnTo>
                    <a:pt x="242" y="72"/>
                  </a:lnTo>
                  <a:lnTo>
                    <a:pt x="242" y="72"/>
                  </a:lnTo>
                  <a:lnTo>
                    <a:pt x="244" y="72"/>
                  </a:lnTo>
                  <a:lnTo>
                    <a:pt x="270" y="39"/>
                  </a:lnTo>
                  <a:lnTo>
                    <a:pt x="253" y="33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0" y="2"/>
                  </a:lnTo>
                  <a:lnTo>
                    <a:pt x="229" y="2"/>
                  </a:lnTo>
                  <a:lnTo>
                    <a:pt x="213" y="18"/>
                  </a:lnTo>
                  <a:lnTo>
                    <a:pt x="213" y="18"/>
                  </a:lnTo>
                  <a:lnTo>
                    <a:pt x="211" y="18"/>
                  </a:lnTo>
                  <a:lnTo>
                    <a:pt x="181" y="18"/>
                  </a:lnTo>
                  <a:lnTo>
                    <a:pt x="181" y="18"/>
                  </a:lnTo>
                  <a:lnTo>
                    <a:pt x="178" y="15"/>
                  </a:lnTo>
                  <a:lnTo>
                    <a:pt x="163" y="0"/>
                  </a:lnTo>
                  <a:lnTo>
                    <a:pt x="150" y="0"/>
                  </a:lnTo>
                  <a:lnTo>
                    <a:pt x="128" y="7"/>
                  </a:lnTo>
                  <a:lnTo>
                    <a:pt x="96" y="33"/>
                  </a:lnTo>
                  <a:lnTo>
                    <a:pt x="74" y="78"/>
                  </a:lnTo>
                  <a:lnTo>
                    <a:pt x="74" y="80"/>
                  </a:lnTo>
                  <a:lnTo>
                    <a:pt x="72" y="80"/>
                  </a:lnTo>
                  <a:lnTo>
                    <a:pt x="35" y="76"/>
                  </a:lnTo>
                  <a:lnTo>
                    <a:pt x="15" y="87"/>
                  </a:lnTo>
                  <a:lnTo>
                    <a:pt x="0" y="111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50"/>
                  </a:lnTo>
                  <a:lnTo>
                    <a:pt x="22" y="167"/>
                  </a:lnTo>
                  <a:lnTo>
                    <a:pt x="56" y="167"/>
                  </a:lnTo>
                  <a:lnTo>
                    <a:pt x="59" y="167"/>
                  </a:lnTo>
                  <a:lnTo>
                    <a:pt x="59" y="169"/>
                  </a:lnTo>
                  <a:lnTo>
                    <a:pt x="63" y="210"/>
                  </a:lnTo>
                  <a:lnTo>
                    <a:pt x="63" y="21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34">
              <a:extLst>
                <a:ext uri="{FF2B5EF4-FFF2-40B4-BE49-F238E27FC236}">
                  <a16:creationId xmlns:a16="http://schemas.microsoft.com/office/drawing/2014/main" xmlns="" id="{E93C7433-24AC-4D7A-8FFD-F655771BD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" y="1418"/>
              <a:ext cx="231" cy="312"/>
            </a:xfrm>
            <a:custGeom>
              <a:avLst/>
              <a:gdLst>
                <a:gd name="T0" fmla="*/ 211 w 231"/>
                <a:gd name="T1" fmla="*/ 0 h 312"/>
                <a:gd name="T2" fmla="*/ 189 w 231"/>
                <a:gd name="T3" fmla="*/ 4 h 312"/>
                <a:gd name="T4" fmla="*/ 154 w 231"/>
                <a:gd name="T5" fmla="*/ 30 h 312"/>
                <a:gd name="T6" fmla="*/ 135 w 231"/>
                <a:gd name="T7" fmla="*/ 58 h 312"/>
                <a:gd name="T8" fmla="*/ 93 w 231"/>
                <a:gd name="T9" fmla="*/ 56 h 312"/>
                <a:gd name="T10" fmla="*/ 69 w 231"/>
                <a:gd name="T11" fmla="*/ 95 h 312"/>
                <a:gd name="T12" fmla="*/ 41 w 231"/>
                <a:gd name="T13" fmla="*/ 100 h 312"/>
                <a:gd name="T14" fmla="*/ 41 w 231"/>
                <a:gd name="T15" fmla="*/ 130 h 312"/>
                <a:gd name="T16" fmla="*/ 0 w 231"/>
                <a:gd name="T17" fmla="*/ 158 h 312"/>
                <a:gd name="T18" fmla="*/ 2 w 231"/>
                <a:gd name="T19" fmla="*/ 197 h 312"/>
                <a:gd name="T20" fmla="*/ 17 w 231"/>
                <a:gd name="T21" fmla="*/ 219 h 312"/>
                <a:gd name="T22" fmla="*/ 0 w 231"/>
                <a:gd name="T23" fmla="*/ 243 h 312"/>
                <a:gd name="T24" fmla="*/ 4 w 231"/>
                <a:gd name="T25" fmla="*/ 262 h 312"/>
                <a:gd name="T26" fmla="*/ 30 w 231"/>
                <a:gd name="T27" fmla="*/ 269 h 312"/>
                <a:gd name="T28" fmla="*/ 37 w 231"/>
                <a:gd name="T29" fmla="*/ 297 h 312"/>
                <a:gd name="T30" fmla="*/ 28 w 231"/>
                <a:gd name="T31" fmla="*/ 312 h 312"/>
                <a:gd name="T32" fmla="*/ 30 w 231"/>
                <a:gd name="T33" fmla="*/ 312 h 312"/>
                <a:gd name="T34" fmla="*/ 48 w 231"/>
                <a:gd name="T35" fmla="*/ 308 h 312"/>
                <a:gd name="T36" fmla="*/ 48 w 231"/>
                <a:gd name="T37" fmla="*/ 308 h 312"/>
                <a:gd name="T38" fmla="*/ 50 w 231"/>
                <a:gd name="T39" fmla="*/ 308 h 312"/>
                <a:gd name="T40" fmla="*/ 59 w 231"/>
                <a:gd name="T41" fmla="*/ 312 h 312"/>
                <a:gd name="T42" fmla="*/ 93 w 231"/>
                <a:gd name="T43" fmla="*/ 305 h 312"/>
                <a:gd name="T44" fmla="*/ 106 w 231"/>
                <a:gd name="T45" fmla="*/ 284 h 312"/>
                <a:gd name="T46" fmla="*/ 115 w 231"/>
                <a:gd name="T47" fmla="*/ 251 h 312"/>
                <a:gd name="T48" fmla="*/ 115 w 231"/>
                <a:gd name="T49" fmla="*/ 251 h 312"/>
                <a:gd name="T50" fmla="*/ 115 w 231"/>
                <a:gd name="T51" fmla="*/ 251 h 312"/>
                <a:gd name="T52" fmla="*/ 137 w 231"/>
                <a:gd name="T53" fmla="*/ 230 h 312"/>
                <a:gd name="T54" fmla="*/ 141 w 231"/>
                <a:gd name="T55" fmla="*/ 217 h 312"/>
                <a:gd name="T56" fmla="*/ 141 w 231"/>
                <a:gd name="T57" fmla="*/ 214 h 312"/>
                <a:gd name="T58" fmla="*/ 144 w 231"/>
                <a:gd name="T59" fmla="*/ 214 h 312"/>
                <a:gd name="T60" fmla="*/ 157 w 231"/>
                <a:gd name="T61" fmla="*/ 212 h 312"/>
                <a:gd name="T62" fmla="*/ 159 w 231"/>
                <a:gd name="T63" fmla="*/ 195 h 312"/>
                <a:gd name="T64" fmla="*/ 159 w 231"/>
                <a:gd name="T65" fmla="*/ 193 h 312"/>
                <a:gd name="T66" fmla="*/ 159 w 231"/>
                <a:gd name="T67" fmla="*/ 193 h 312"/>
                <a:gd name="T68" fmla="*/ 198 w 231"/>
                <a:gd name="T69" fmla="*/ 180 h 312"/>
                <a:gd name="T70" fmla="*/ 198 w 231"/>
                <a:gd name="T71" fmla="*/ 128 h 312"/>
                <a:gd name="T72" fmla="*/ 198 w 231"/>
                <a:gd name="T73" fmla="*/ 128 h 312"/>
                <a:gd name="T74" fmla="*/ 198 w 231"/>
                <a:gd name="T75" fmla="*/ 128 h 312"/>
                <a:gd name="T76" fmla="*/ 205 w 231"/>
                <a:gd name="T77" fmla="*/ 110 h 312"/>
                <a:gd name="T78" fmla="*/ 205 w 231"/>
                <a:gd name="T79" fmla="*/ 110 h 312"/>
                <a:gd name="T80" fmla="*/ 205 w 231"/>
                <a:gd name="T81" fmla="*/ 110 h 312"/>
                <a:gd name="T82" fmla="*/ 218 w 231"/>
                <a:gd name="T83" fmla="*/ 100 h 312"/>
                <a:gd name="T84" fmla="*/ 231 w 231"/>
                <a:gd name="T85" fmla="*/ 61 h 312"/>
                <a:gd name="T86" fmla="*/ 213 w 231"/>
                <a:gd name="T87" fmla="*/ 35 h 312"/>
                <a:gd name="T88" fmla="*/ 213 w 231"/>
                <a:gd name="T89" fmla="*/ 35 h 312"/>
                <a:gd name="T90" fmla="*/ 213 w 231"/>
                <a:gd name="T91" fmla="*/ 35 h 312"/>
                <a:gd name="T92" fmla="*/ 211 w 231"/>
                <a:gd name="T93" fmla="*/ 0 h 312"/>
                <a:gd name="T94" fmla="*/ 211 w 231"/>
                <a:gd name="T95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31" h="312">
                  <a:moveTo>
                    <a:pt x="211" y="0"/>
                  </a:moveTo>
                  <a:lnTo>
                    <a:pt x="189" y="4"/>
                  </a:lnTo>
                  <a:lnTo>
                    <a:pt x="154" y="30"/>
                  </a:lnTo>
                  <a:lnTo>
                    <a:pt x="135" y="58"/>
                  </a:lnTo>
                  <a:lnTo>
                    <a:pt x="93" y="56"/>
                  </a:lnTo>
                  <a:lnTo>
                    <a:pt x="69" y="95"/>
                  </a:lnTo>
                  <a:lnTo>
                    <a:pt x="41" y="100"/>
                  </a:lnTo>
                  <a:lnTo>
                    <a:pt x="41" y="130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17" y="219"/>
                  </a:lnTo>
                  <a:lnTo>
                    <a:pt x="0" y="243"/>
                  </a:lnTo>
                  <a:lnTo>
                    <a:pt x="4" y="262"/>
                  </a:lnTo>
                  <a:lnTo>
                    <a:pt x="30" y="269"/>
                  </a:lnTo>
                  <a:lnTo>
                    <a:pt x="37" y="297"/>
                  </a:lnTo>
                  <a:lnTo>
                    <a:pt x="28" y="312"/>
                  </a:lnTo>
                  <a:lnTo>
                    <a:pt x="30" y="312"/>
                  </a:lnTo>
                  <a:lnTo>
                    <a:pt x="48" y="308"/>
                  </a:lnTo>
                  <a:lnTo>
                    <a:pt x="48" y="308"/>
                  </a:lnTo>
                  <a:lnTo>
                    <a:pt x="50" y="308"/>
                  </a:lnTo>
                  <a:lnTo>
                    <a:pt x="59" y="312"/>
                  </a:lnTo>
                  <a:lnTo>
                    <a:pt x="93" y="305"/>
                  </a:lnTo>
                  <a:lnTo>
                    <a:pt x="106" y="284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15" y="251"/>
                  </a:lnTo>
                  <a:lnTo>
                    <a:pt x="137" y="230"/>
                  </a:lnTo>
                  <a:lnTo>
                    <a:pt x="141" y="217"/>
                  </a:lnTo>
                  <a:lnTo>
                    <a:pt x="141" y="214"/>
                  </a:lnTo>
                  <a:lnTo>
                    <a:pt x="144" y="214"/>
                  </a:lnTo>
                  <a:lnTo>
                    <a:pt x="157" y="212"/>
                  </a:lnTo>
                  <a:lnTo>
                    <a:pt x="159" y="195"/>
                  </a:lnTo>
                  <a:lnTo>
                    <a:pt x="159" y="193"/>
                  </a:lnTo>
                  <a:lnTo>
                    <a:pt x="159" y="193"/>
                  </a:lnTo>
                  <a:lnTo>
                    <a:pt x="198" y="180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198" y="128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05" y="110"/>
                  </a:lnTo>
                  <a:lnTo>
                    <a:pt x="218" y="100"/>
                  </a:lnTo>
                  <a:lnTo>
                    <a:pt x="231" y="61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3" y="35"/>
                  </a:lnTo>
                  <a:lnTo>
                    <a:pt x="211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35">
              <a:extLst>
                <a:ext uri="{FF2B5EF4-FFF2-40B4-BE49-F238E27FC236}">
                  <a16:creationId xmlns:a16="http://schemas.microsoft.com/office/drawing/2014/main" xmlns="" id="{8ABAFBF6-4B17-40FA-B6F0-D576E7BBC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3" y="1364"/>
              <a:ext cx="382" cy="336"/>
            </a:xfrm>
            <a:custGeom>
              <a:avLst/>
              <a:gdLst>
                <a:gd name="T0" fmla="*/ 175 w 382"/>
                <a:gd name="T1" fmla="*/ 0 h 336"/>
                <a:gd name="T2" fmla="*/ 127 w 382"/>
                <a:gd name="T3" fmla="*/ 56 h 336"/>
                <a:gd name="T4" fmla="*/ 118 w 382"/>
                <a:gd name="T5" fmla="*/ 84 h 336"/>
                <a:gd name="T6" fmla="*/ 90 w 382"/>
                <a:gd name="T7" fmla="*/ 56 h 336"/>
                <a:gd name="T8" fmla="*/ 24 w 382"/>
                <a:gd name="T9" fmla="*/ 52 h 336"/>
                <a:gd name="T10" fmla="*/ 3 w 382"/>
                <a:gd name="T11" fmla="*/ 86 h 336"/>
                <a:gd name="T12" fmla="*/ 20 w 382"/>
                <a:gd name="T13" fmla="*/ 115 h 336"/>
                <a:gd name="T14" fmla="*/ 7 w 382"/>
                <a:gd name="T15" fmla="*/ 156 h 336"/>
                <a:gd name="T16" fmla="*/ 35 w 382"/>
                <a:gd name="T17" fmla="*/ 164 h 336"/>
                <a:gd name="T18" fmla="*/ 38 w 382"/>
                <a:gd name="T19" fmla="*/ 164 h 336"/>
                <a:gd name="T20" fmla="*/ 53 w 382"/>
                <a:gd name="T21" fmla="*/ 171 h 336"/>
                <a:gd name="T22" fmla="*/ 64 w 382"/>
                <a:gd name="T23" fmla="*/ 193 h 336"/>
                <a:gd name="T24" fmla="*/ 85 w 382"/>
                <a:gd name="T25" fmla="*/ 188 h 336"/>
                <a:gd name="T26" fmla="*/ 99 w 382"/>
                <a:gd name="T27" fmla="*/ 201 h 336"/>
                <a:gd name="T28" fmla="*/ 116 w 382"/>
                <a:gd name="T29" fmla="*/ 195 h 336"/>
                <a:gd name="T30" fmla="*/ 118 w 382"/>
                <a:gd name="T31" fmla="*/ 195 h 336"/>
                <a:gd name="T32" fmla="*/ 142 w 382"/>
                <a:gd name="T33" fmla="*/ 201 h 336"/>
                <a:gd name="T34" fmla="*/ 142 w 382"/>
                <a:gd name="T35" fmla="*/ 221 h 336"/>
                <a:gd name="T36" fmla="*/ 142 w 382"/>
                <a:gd name="T37" fmla="*/ 221 h 336"/>
                <a:gd name="T38" fmla="*/ 142 w 382"/>
                <a:gd name="T39" fmla="*/ 245 h 336"/>
                <a:gd name="T40" fmla="*/ 168 w 382"/>
                <a:gd name="T41" fmla="*/ 245 h 336"/>
                <a:gd name="T42" fmla="*/ 173 w 382"/>
                <a:gd name="T43" fmla="*/ 258 h 336"/>
                <a:gd name="T44" fmla="*/ 188 w 382"/>
                <a:gd name="T45" fmla="*/ 262 h 336"/>
                <a:gd name="T46" fmla="*/ 184 w 382"/>
                <a:gd name="T47" fmla="*/ 284 h 336"/>
                <a:gd name="T48" fmla="*/ 199 w 382"/>
                <a:gd name="T49" fmla="*/ 312 h 336"/>
                <a:gd name="T50" fmla="*/ 201 w 382"/>
                <a:gd name="T51" fmla="*/ 336 h 336"/>
                <a:gd name="T52" fmla="*/ 221 w 382"/>
                <a:gd name="T53" fmla="*/ 325 h 336"/>
                <a:gd name="T54" fmla="*/ 255 w 382"/>
                <a:gd name="T55" fmla="*/ 329 h 336"/>
                <a:gd name="T56" fmla="*/ 277 w 382"/>
                <a:gd name="T57" fmla="*/ 284 h 336"/>
                <a:gd name="T58" fmla="*/ 312 w 382"/>
                <a:gd name="T59" fmla="*/ 258 h 336"/>
                <a:gd name="T60" fmla="*/ 314 w 382"/>
                <a:gd name="T61" fmla="*/ 255 h 336"/>
                <a:gd name="T62" fmla="*/ 336 w 382"/>
                <a:gd name="T63" fmla="*/ 249 h 336"/>
                <a:gd name="T64" fmla="*/ 367 w 382"/>
                <a:gd name="T65" fmla="*/ 249 h 336"/>
                <a:gd name="T66" fmla="*/ 351 w 382"/>
                <a:gd name="T67" fmla="*/ 199 h 336"/>
                <a:gd name="T68" fmla="*/ 332 w 382"/>
                <a:gd name="T69" fmla="*/ 197 h 336"/>
                <a:gd name="T70" fmla="*/ 323 w 382"/>
                <a:gd name="T71" fmla="*/ 167 h 336"/>
                <a:gd name="T72" fmla="*/ 310 w 382"/>
                <a:gd name="T73" fmla="*/ 184 h 336"/>
                <a:gd name="T74" fmla="*/ 308 w 382"/>
                <a:gd name="T75" fmla="*/ 186 h 336"/>
                <a:gd name="T76" fmla="*/ 297 w 382"/>
                <a:gd name="T77" fmla="*/ 184 h 336"/>
                <a:gd name="T78" fmla="*/ 290 w 382"/>
                <a:gd name="T79" fmla="*/ 171 h 336"/>
                <a:gd name="T80" fmla="*/ 279 w 382"/>
                <a:gd name="T81" fmla="*/ 195 h 336"/>
                <a:gd name="T82" fmla="*/ 277 w 382"/>
                <a:gd name="T83" fmla="*/ 197 h 336"/>
                <a:gd name="T84" fmla="*/ 262 w 382"/>
                <a:gd name="T85" fmla="*/ 193 h 336"/>
                <a:gd name="T86" fmla="*/ 255 w 382"/>
                <a:gd name="T87" fmla="*/ 177 h 336"/>
                <a:gd name="T88" fmla="*/ 218 w 382"/>
                <a:gd name="T89" fmla="*/ 177 h 336"/>
                <a:gd name="T90" fmla="*/ 203 w 382"/>
                <a:gd name="T91" fmla="*/ 156 h 336"/>
                <a:gd name="T92" fmla="*/ 168 w 382"/>
                <a:gd name="T93" fmla="*/ 156 h 336"/>
                <a:gd name="T94" fmla="*/ 157 w 382"/>
                <a:gd name="T95" fmla="*/ 143 h 336"/>
                <a:gd name="T96" fmla="*/ 157 w 382"/>
                <a:gd name="T97" fmla="*/ 141 h 336"/>
                <a:gd name="T98" fmla="*/ 212 w 382"/>
                <a:gd name="T9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82" h="336">
                  <a:moveTo>
                    <a:pt x="212" y="0"/>
                  </a:moveTo>
                  <a:lnTo>
                    <a:pt x="175" y="0"/>
                  </a:lnTo>
                  <a:lnTo>
                    <a:pt x="129" y="17"/>
                  </a:lnTo>
                  <a:lnTo>
                    <a:pt x="127" y="56"/>
                  </a:lnTo>
                  <a:lnTo>
                    <a:pt x="131" y="71"/>
                  </a:lnTo>
                  <a:lnTo>
                    <a:pt x="118" y="84"/>
                  </a:lnTo>
                  <a:lnTo>
                    <a:pt x="107" y="58"/>
                  </a:lnTo>
                  <a:lnTo>
                    <a:pt x="90" y="56"/>
                  </a:lnTo>
                  <a:lnTo>
                    <a:pt x="59" y="30"/>
                  </a:lnTo>
                  <a:lnTo>
                    <a:pt x="24" y="52"/>
                  </a:lnTo>
                  <a:lnTo>
                    <a:pt x="0" y="54"/>
                  </a:lnTo>
                  <a:lnTo>
                    <a:pt x="3" y="86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7" y="156"/>
                  </a:lnTo>
                  <a:lnTo>
                    <a:pt x="14" y="175"/>
                  </a:lnTo>
                  <a:lnTo>
                    <a:pt x="35" y="164"/>
                  </a:lnTo>
                  <a:lnTo>
                    <a:pt x="35" y="164"/>
                  </a:lnTo>
                  <a:lnTo>
                    <a:pt x="38" y="164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53" y="171"/>
                  </a:lnTo>
                  <a:lnTo>
                    <a:pt x="64" y="193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90"/>
                  </a:lnTo>
                  <a:lnTo>
                    <a:pt x="99" y="201"/>
                  </a:lnTo>
                  <a:lnTo>
                    <a:pt x="109" y="203"/>
                  </a:lnTo>
                  <a:lnTo>
                    <a:pt x="116" y="195"/>
                  </a:lnTo>
                  <a:lnTo>
                    <a:pt x="116" y="195"/>
                  </a:lnTo>
                  <a:lnTo>
                    <a:pt x="118" y="195"/>
                  </a:lnTo>
                  <a:lnTo>
                    <a:pt x="140" y="201"/>
                  </a:lnTo>
                  <a:lnTo>
                    <a:pt x="142" y="201"/>
                  </a:lnTo>
                  <a:lnTo>
                    <a:pt x="142" y="203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42" y="221"/>
                  </a:lnTo>
                  <a:lnTo>
                    <a:pt x="136" y="234"/>
                  </a:lnTo>
                  <a:lnTo>
                    <a:pt x="142" y="245"/>
                  </a:lnTo>
                  <a:lnTo>
                    <a:pt x="166" y="245"/>
                  </a:lnTo>
                  <a:lnTo>
                    <a:pt x="168" y="245"/>
                  </a:lnTo>
                  <a:lnTo>
                    <a:pt x="168" y="247"/>
                  </a:lnTo>
                  <a:lnTo>
                    <a:pt x="173" y="258"/>
                  </a:lnTo>
                  <a:lnTo>
                    <a:pt x="186" y="260"/>
                  </a:lnTo>
                  <a:lnTo>
                    <a:pt x="188" y="262"/>
                  </a:lnTo>
                  <a:lnTo>
                    <a:pt x="188" y="264"/>
                  </a:lnTo>
                  <a:lnTo>
                    <a:pt x="184" y="284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199" y="312"/>
                  </a:lnTo>
                  <a:lnTo>
                    <a:pt x="201" y="336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21" y="325"/>
                  </a:lnTo>
                  <a:lnTo>
                    <a:pt x="255" y="329"/>
                  </a:lnTo>
                  <a:lnTo>
                    <a:pt x="277" y="284"/>
                  </a:lnTo>
                  <a:lnTo>
                    <a:pt x="277" y="284"/>
                  </a:lnTo>
                  <a:lnTo>
                    <a:pt x="279" y="281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4" y="255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36" y="249"/>
                  </a:lnTo>
                  <a:lnTo>
                    <a:pt x="367" y="249"/>
                  </a:lnTo>
                  <a:lnTo>
                    <a:pt x="382" y="238"/>
                  </a:lnTo>
                  <a:lnTo>
                    <a:pt x="351" y="199"/>
                  </a:lnTo>
                  <a:lnTo>
                    <a:pt x="334" y="197"/>
                  </a:lnTo>
                  <a:lnTo>
                    <a:pt x="332" y="197"/>
                  </a:lnTo>
                  <a:lnTo>
                    <a:pt x="332" y="195"/>
                  </a:lnTo>
                  <a:lnTo>
                    <a:pt x="323" y="167"/>
                  </a:lnTo>
                  <a:lnTo>
                    <a:pt x="312" y="167"/>
                  </a:lnTo>
                  <a:lnTo>
                    <a:pt x="310" y="184"/>
                  </a:lnTo>
                  <a:lnTo>
                    <a:pt x="310" y="186"/>
                  </a:lnTo>
                  <a:lnTo>
                    <a:pt x="308" y="186"/>
                  </a:lnTo>
                  <a:lnTo>
                    <a:pt x="299" y="184"/>
                  </a:lnTo>
                  <a:lnTo>
                    <a:pt x="297" y="184"/>
                  </a:lnTo>
                  <a:lnTo>
                    <a:pt x="297" y="184"/>
                  </a:lnTo>
                  <a:lnTo>
                    <a:pt x="290" y="171"/>
                  </a:lnTo>
                  <a:lnTo>
                    <a:pt x="282" y="173"/>
                  </a:lnTo>
                  <a:lnTo>
                    <a:pt x="279" y="195"/>
                  </a:lnTo>
                  <a:lnTo>
                    <a:pt x="279" y="197"/>
                  </a:lnTo>
                  <a:lnTo>
                    <a:pt x="277" y="197"/>
                  </a:lnTo>
                  <a:lnTo>
                    <a:pt x="264" y="193"/>
                  </a:lnTo>
                  <a:lnTo>
                    <a:pt x="262" y="193"/>
                  </a:lnTo>
                  <a:lnTo>
                    <a:pt x="262" y="193"/>
                  </a:lnTo>
                  <a:lnTo>
                    <a:pt x="255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03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57" y="143"/>
                  </a:lnTo>
                  <a:lnTo>
                    <a:pt x="157" y="143"/>
                  </a:lnTo>
                  <a:lnTo>
                    <a:pt x="157" y="141"/>
                  </a:lnTo>
                  <a:lnTo>
                    <a:pt x="216" y="71"/>
                  </a:lnTo>
                  <a:lnTo>
                    <a:pt x="212" y="0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36">
              <a:extLst>
                <a:ext uri="{FF2B5EF4-FFF2-40B4-BE49-F238E27FC236}">
                  <a16:creationId xmlns:a16="http://schemas.microsoft.com/office/drawing/2014/main" xmlns="" id="{E2EB101E-8A00-4D04-92B4-765EC10281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0" y="959"/>
              <a:ext cx="342" cy="489"/>
            </a:xfrm>
            <a:custGeom>
              <a:avLst/>
              <a:gdLst>
                <a:gd name="T0" fmla="*/ 78 w 342"/>
                <a:gd name="T1" fmla="*/ 264 h 489"/>
                <a:gd name="T2" fmla="*/ 87 w 342"/>
                <a:gd name="T3" fmla="*/ 205 h 489"/>
                <a:gd name="T4" fmla="*/ 100 w 342"/>
                <a:gd name="T5" fmla="*/ 225 h 489"/>
                <a:gd name="T6" fmla="*/ 96 w 342"/>
                <a:gd name="T7" fmla="*/ 266 h 489"/>
                <a:gd name="T8" fmla="*/ 111 w 342"/>
                <a:gd name="T9" fmla="*/ 301 h 489"/>
                <a:gd name="T10" fmla="*/ 115 w 342"/>
                <a:gd name="T11" fmla="*/ 361 h 489"/>
                <a:gd name="T12" fmla="*/ 139 w 342"/>
                <a:gd name="T13" fmla="*/ 398 h 489"/>
                <a:gd name="T14" fmla="*/ 146 w 342"/>
                <a:gd name="T15" fmla="*/ 435 h 489"/>
                <a:gd name="T16" fmla="*/ 235 w 342"/>
                <a:gd name="T17" fmla="*/ 489 h 489"/>
                <a:gd name="T18" fmla="*/ 290 w 342"/>
                <a:gd name="T19" fmla="*/ 478 h 489"/>
                <a:gd name="T20" fmla="*/ 331 w 342"/>
                <a:gd name="T21" fmla="*/ 422 h 489"/>
                <a:gd name="T22" fmla="*/ 342 w 342"/>
                <a:gd name="T23" fmla="*/ 364 h 489"/>
                <a:gd name="T24" fmla="*/ 322 w 342"/>
                <a:gd name="T25" fmla="*/ 294 h 489"/>
                <a:gd name="T26" fmla="*/ 327 w 342"/>
                <a:gd name="T27" fmla="*/ 192 h 489"/>
                <a:gd name="T28" fmla="*/ 314 w 342"/>
                <a:gd name="T29" fmla="*/ 156 h 489"/>
                <a:gd name="T30" fmla="*/ 285 w 342"/>
                <a:gd name="T31" fmla="*/ 110 h 489"/>
                <a:gd name="T32" fmla="*/ 281 w 342"/>
                <a:gd name="T33" fmla="*/ 75 h 489"/>
                <a:gd name="T34" fmla="*/ 294 w 342"/>
                <a:gd name="T35" fmla="*/ 67 h 489"/>
                <a:gd name="T36" fmla="*/ 311 w 342"/>
                <a:gd name="T37" fmla="*/ 91 h 489"/>
                <a:gd name="T38" fmla="*/ 329 w 342"/>
                <a:gd name="T39" fmla="*/ 80 h 489"/>
                <a:gd name="T40" fmla="*/ 311 w 342"/>
                <a:gd name="T41" fmla="*/ 47 h 489"/>
                <a:gd name="T42" fmla="*/ 253 w 342"/>
                <a:gd name="T43" fmla="*/ 8 h 489"/>
                <a:gd name="T44" fmla="*/ 165 w 342"/>
                <a:gd name="T45" fmla="*/ 0 h 489"/>
                <a:gd name="T46" fmla="*/ 148 w 342"/>
                <a:gd name="T47" fmla="*/ 13 h 489"/>
                <a:gd name="T48" fmla="*/ 104 w 342"/>
                <a:gd name="T49" fmla="*/ 36 h 489"/>
                <a:gd name="T50" fmla="*/ 107 w 342"/>
                <a:gd name="T51" fmla="*/ 71 h 489"/>
                <a:gd name="T52" fmla="*/ 76 w 342"/>
                <a:gd name="T53" fmla="*/ 119 h 489"/>
                <a:gd name="T54" fmla="*/ 19 w 342"/>
                <a:gd name="T55" fmla="*/ 119 h 489"/>
                <a:gd name="T56" fmla="*/ 0 w 342"/>
                <a:gd name="T57" fmla="*/ 145 h 489"/>
                <a:gd name="T58" fmla="*/ 41 w 342"/>
                <a:gd name="T59" fmla="*/ 201 h 489"/>
                <a:gd name="T60" fmla="*/ 41 w 342"/>
                <a:gd name="T61" fmla="*/ 201 h 489"/>
                <a:gd name="T62" fmla="*/ 41 w 342"/>
                <a:gd name="T63" fmla="*/ 201 h 489"/>
                <a:gd name="T64" fmla="*/ 35 w 342"/>
                <a:gd name="T65" fmla="*/ 236 h 489"/>
                <a:gd name="T66" fmla="*/ 70 w 342"/>
                <a:gd name="T67" fmla="*/ 253 h 489"/>
                <a:gd name="T68" fmla="*/ 72 w 342"/>
                <a:gd name="T69" fmla="*/ 253 h 489"/>
                <a:gd name="T70" fmla="*/ 72 w 342"/>
                <a:gd name="T71" fmla="*/ 253 h 489"/>
                <a:gd name="T72" fmla="*/ 78 w 342"/>
                <a:gd name="T73" fmla="*/ 264 h 489"/>
                <a:gd name="T74" fmla="*/ 78 w 342"/>
                <a:gd name="T75" fmla="*/ 264 h 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2" h="489">
                  <a:moveTo>
                    <a:pt x="78" y="264"/>
                  </a:moveTo>
                  <a:lnTo>
                    <a:pt x="87" y="205"/>
                  </a:lnTo>
                  <a:lnTo>
                    <a:pt x="100" y="225"/>
                  </a:lnTo>
                  <a:lnTo>
                    <a:pt x="96" y="266"/>
                  </a:lnTo>
                  <a:lnTo>
                    <a:pt x="111" y="301"/>
                  </a:lnTo>
                  <a:lnTo>
                    <a:pt x="115" y="361"/>
                  </a:lnTo>
                  <a:lnTo>
                    <a:pt x="139" y="398"/>
                  </a:lnTo>
                  <a:lnTo>
                    <a:pt x="146" y="435"/>
                  </a:lnTo>
                  <a:lnTo>
                    <a:pt x="235" y="489"/>
                  </a:lnTo>
                  <a:lnTo>
                    <a:pt x="290" y="478"/>
                  </a:lnTo>
                  <a:lnTo>
                    <a:pt x="331" y="422"/>
                  </a:lnTo>
                  <a:lnTo>
                    <a:pt x="342" y="364"/>
                  </a:lnTo>
                  <a:lnTo>
                    <a:pt x="322" y="294"/>
                  </a:lnTo>
                  <a:lnTo>
                    <a:pt x="327" y="192"/>
                  </a:lnTo>
                  <a:lnTo>
                    <a:pt x="314" y="156"/>
                  </a:lnTo>
                  <a:lnTo>
                    <a:pt x="285" y="110"/>
                  </a:lnTo>
                  <a:lnTo>
                    <a:pt x="281" y="75"/>
                  </a:lnTo>
                  <a:lnTo>
                    <a:pt x="294" y="67"/>
                  </a:lnTo>
                  <a:lnTo>
                    <a:pt x="311" y="91"/>
                  </a:lnTo>
                  <a:lnTo>
                    <a:pt x="329" y="80"/>
                  </a:lnTo>
                  <a:lnTo>
                    <a:pt x="311" y="47"/>
                  </a:lnTo>
                  <a:lnTo>
                    <a:pt x="253" y="8"/>
                  </a:lnTo>
                  <a:lnTo>
                    <a:pt x="165" y="0"/>
                  </a:lnTo>
                  <a:lnTo>
                    <a:pt x="148" y="13"/>
                  </a:lnTo>
                  <a:lnTo>
                    <a:pt x="104" y="36"/>
                  </a:lnTo>
                  <a:lnTo>
                    <a:pt x="107" y="71"/>
                  </a:lnTo>
                  <a:lnTo>
                    <a:pt x="76" y="119"/>
                  </a:lnTo>
                  <a:lnTo>
                    <a:pt x="19" y="119"/>
                  </a:lnTo>
                  <a:lnTo>
                    <a:pt x="0" y="145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41" y="201"/>
                  </a:lnTo>
                  <a:lnTo>
                    <a:pt x="35" y="236"/>
                  </a:lnTo>
                  <a:lnTo>
                    <a:pt x="70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8" y="264"/>
                  </a:lnTo>
                  <a:lnTo>
                    <a:pt x="78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Freeform 237">
              <a:extLst>
                <a:ext uri="{FF2B5EF4-FFF2-40B4-BE49-F238E27FC236}">
                  <a16:creationId xmlns:a16="http://schemas.microsoft.com/office/drawing/2014/main" xmlns="" id="{3B6F5769-3D46-4693-8662-1E3596037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106"/>
              <a:ext cx="497" cy="548"/>
            </a:xfrm>
            <a:custGeom>
              <a:avLst/>
              <a:gdLst>
                <a:gd name="T0" fmla="*/ 390 w 497"/>
                <a:gd name="T1" fmla="*/ 334 h 548"/>
                <a:gd name="T2" fmla="*/ 377 w 497"/>
                <a:gd name="T3" fmla="*/ 297 h 548"/>
                <a:gd name="T4" fmla="*/ 434 w 497"/>
                <a:gd name="T5" fmla="*/ 221 h 548"/>
                <a:gd name="T6" fmla="*/ 491 w 497"/>
                <a:gd name="T7" fmla="*/ 173 h 548"/>
                <a:gd name="T8" fmla="*/ 488 w 497"/>
                <a:gd name="T9" fmla="*/ 108 h 548"/>
                <a:gd name="T10" fmla="*/ 451 w 497"/>
                <a:gd name="T11" fmla="*/ 91 h 548"/>
                <a:gd name="T12" fmla="*/ 458 w 497"/>
                <a:gd name="T13" fmla="*/ 54 h 548"/>
                <a:gd name="T14" fmla="*/ 369 w 497"/>
                <a:gd name="T15" fmla="*/ 61 h 548"/>
                <a:gd name="T16" fmla="*/ 312 w 497"/>
                <a:gd name="T17" fmla="*/ 82 h 548"/>
                <a:gd name="T18" fmla="*/ 279 w 497"/>
                <a:gd name="T19" fmla="*/ 102 h 548"/>
                <a:gd name="T20" fmla="*/ 251 w 497"/>
                <a:gd name="T21" fmla="*/ 136 h 548"/>
                <a:gd name="T22" fmla="*/ 249 w 497"/>
                <a:gd name="T23" fmla="*/ 167 h 548"/>
                <a:gd name="T24" fmla="*/ 196 w 497"/>
                <a:gd name="T25" fmla="*/ 199 h 548"/>
                <a:gd name="T26" fmla="*/ 164 w 497"/>
                <a:gd name="T27" fmla="*/ 271 h 548"/>
                <a:gd name="T28" fmla="*/ 0 w 497"/>
                <a:gd name="T29" fmla="*/ 258 h 548"/>
                <a:gd name="T30" fmla="*/ 31 w 497"/>
                <a:gd name="T31" fmla="*/ 284 h 548"/>
                <a:gd name="T32" fmla="*/ 31 w 497"/>
                <a:gd name="T33" fmla="*/ 284 h 548"/>
                <a:gd name="T34" fmla="*/ 68 w 497"/>
                <a:gd name="T35" fmla="*/ 290 h 548"/>
                <a:gd name="T36" fmla="*/ 83 w 497"/>
                <a:gd name="T37" fmla="*/ 310 h 548"/>
                <a:gd name="T38" fmla="*/ 83 w 497"/>
                <a:gd name="T39" fmla="*/ 312 h 548"/>
                <a:gd name="T40" fmla="*/ 81 w 497"/>
                <a:gd name="T41" fmla="*/ 338 h 548"/>
                <a:gd name="T42" fmla="*/ 70 w 497"/>
                <a:gd name="T43" fmla="*/ 351 h 548"/>
                <a:gd name="T44" fmla="*/ 70 w 497"/>
                <a:gd name="T45" fmla="*/ 379 h 548"/>
                <a:gd name="T46" fmla="*/ 68 w 497"/>
                <a:gd name="T47" fmla="*/ 405 h 548"/>
                <a:gd name="T48" fmla="*/ 66 w 497"/>
                <a:gd name="T49" fmla="*/ 405 h 548"/>
                <a:gd name="T50" fmla="*/ 42 w 497"/>
                <a:gd name="T51" fmla="*/ 433 h 548"/>
                <a:gd name="T52" fmla="*/ 59 w 497"/>
                <a:gd name="T53" fmla="*/ 451 h 548"/>
                <a:gd name="T54" fmla="*/ 61 w 497"/>
                <a:gd name="T55" fmla="*/ 429 h 548"/>
                <a:gd name="T56" fmla="*/ 74 w 497"/>
                <a:gd name="T57" fmla="*/ 425 h 548"/>
                <a:gd name="T58" fmla="*/ 76 w 497"/>
                <a:gd name="T59" fmla="*/ 425 h 548"/>
                <a:gd name="T60" fmla="*/ 90 w 497"/>
                <a:gd name="T61" fmla="*/ 440 h 548"/>
                <a:gd name="T62" fmla="*/ 92 w 497"/>
                <a:gd name="T63" fmla="*/ 420 h 548"/>
                <a:gd name="T64" fmla="*/ 109 w 497"/>
                <a:gd name="T65" fmla="*/ 420 h 548"/>
                <a:gd name="T66" fmla="*/ 111 w 497"/>
                <a:gd name="T67" fmla="*/ 420 h 548"/>
                <a:gd name="T68" fmla="*/ 138 w 497"/>
                <a:gd name="T69" fmla="*/ 453 h 548"/>
                <a:gd name="T70" fmla="*/ 140 w 497"/>
                <a:gd name="T71" fmla="*/ 455 h 548"/>
                <a:gd name="T72" fmla="*/ 172 w 497"/>
                <a:gd name="T73" fmla="*/ 479 h 548"/>
                <a:gd name="T74" fmla="*/ 168 w 497"/>
                <a:gd name="T75" fmla="*/ 444 h 548"/>
                <a:gd name="T76" fmla="*/ 183 w 497"/>
                <a:gd name="T77" fmla="*/ 418 h 548"/>
                <a:gd name="T78" fmla="*/ 183 w 497"/>
                <a:gd name="T79" fmla="*/ 418 h 548"/>
                <a:gd name="T80" fmla="*/ 229 w 497"/>
                <a:gd name="T81" fmla="*/ 368 h 548"/>
                <a:gd name="T82" fmla="*/ 257 w 497"/>
                <a:gd name="T83" fmla="*/ 375 h 548"/>
                <a:gd name="T84" fmla="*/ 260 w 497"/>
                <a:gd name="T85" fmla="*/ 375 h 548"/>
                <a:gd name="T86" fmla="*/ 268 w 497"/>
                <a:gd name="T87" fmla="*/ 392 h 548"/>
                <a:gd name="T88" fmla="*/ 264 w 497"/>
                <a:gd name="T89" fmla="*/ 418 h 548"/>
                <a:gd name="T90" fmla="*/ 264 w 497"/>
                <a:gd name="T91" fmla="*/ 420 h 548"/>
                <a:gd name="T92" fmla="*/ 209 w 497"/>
                <a:gd name="T93" fmla="*/ 477 h 548"/>
                <a:gd name="T94" fmla="*/ 223 w 497"/>
                <a:gd name="T95" fmla="*/ 509 h 548"/>
                <a:gd name="T96" fmla="*/ 225 w 497"/>
                <a:gd name="T97" fmla="*/ 511 h 548"/>
                <a:gd name="T98" fmla="*/ 244 w 497"/>
                <a:gd name="T99" fmla="*/ 548 h 548"/>
                <a:gd name="T100" fmla="*/ 257 w 497"/>
                <a:gd name="T101" fmla="*/ 533 h 548"/>
                <a:gd name="T102" fmla="*/ 275 w 497"/>
                <a:gd name="T103" fmla="*/ 533 h 548"/>
                <a:gd name="T104" fmla="*/ 281 w 497"/>
                <a:gd name="T105" fmla="*/ 500 h 548"/>
                <a:gd name="T106" fmla="*/ 314 w 497"/>
                <a:gd name="T107" fmla="*/ 468 h 548"/>
                <a:gd name="T108" fmla="*/ 305 w 497"/>
                <a:gd name="T109" fmla="*/ 455 h 548"/>
                <a:gd name="T110" fmla="*/ 294 w 497"/>
                <a:gd name="T111" fmla="*/ 438 h 548"/>
                <a:gd name="T112" fmla="*/ 303 w 497"/>
                <a:gd name="T113" fmla="*/ 412 h 548"/>
                <a:gd name="T114" fmla="*/ 303 w 497"/>
                <a:gd name="T115" fmla="*/ 412 h 548"/>
                <a:gd name="T116" fmla="*/ 336 w 497"/>
                <a:gd name="T117" fmla="*/ 364 h 548"/>
                <a:gd name="T118" fmla="*/ 338 w 497"/>
                <a:gd name="T119" fmla="*/ 364 h 548"/>
                <a:gd name="T120" fmla="*/ 373 w 497"/>
                <a:gd name="T121" fmla="*/ 370 h 548"/>
                <a:gd name="T122" fmla="*/ 390 w 497"/>
                <a:gd name="T123" fmla="*/ 353 h 548"/>
                <a:gd name="T124" fmla="*/ 393 w 497"/>
                <a:gd name="T125" fmla="*/ 353 h 5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7" h="548">
                  <a:moveTo>
                    <a:pt x="393" y="353"/>
                  </a:moveTo>
                  <a:lnTo>
                    <a:pt x="390" y="334"/>
                  </a:lnTo>
                  <a:lnTo>
                    <a:pt x="393" y="318"/>
                  </a:lnTo>
                  <a:lnTo>
                    <a:pt x="377" y="297"/>
                  </a:lnTo>
                  <a:lnTo>
                    <a:pt x="393" y="273"/>
                  </a:lnTo>
                  <a:lnTo>
                    <a:pt x="434" y="221"/>
                  </a:lnTo>
                  <a:lnTo>
                    <a:pt x="469" y="210"/>
                  </a:lnTo>
                  <a:lnTo>
                    <a:pt x="491" y="173"/>
                  </a:lnTo>
                  <a:lnTo>
                    <a:pt x="497" y="123"/>
                  </a:lnTo>
                  <a:lnTo>
                    <a:pt x="488" y="108"/>
                  </a:lnTo>
                  <a:lnTo>
                    <a:pt x="454" y="91"/>
                  </a:lnTo>
                  <a:lnTo>
                    <a:pt x="451" y="91"/>
                  </a:lnTo>
                  <a:lnTo>
                    <a:pt x="451" y="89"/>
                  </a:lnTo>
                  <a:lnTo>
                    <a:pt x="458" y="54"/>
                  </a:lnTo>
                  <a:lnTo>
                    <a:pt x="416" y="0"/>
                  </a:lnTo>
                  <a:lnTo>
                    <a:pt x="369" y="61"/>
                  </a:lnTo>
                  <a:lnTo>
                    <a:pt x="345" y="61"/>
                  </a:lnTo>
                  <a:lnTo>
                    <a:pt x="312" y="82"/>
                  </a:lnTo>
                  <a:lnTo>
                    <a:pt x="290" y="80"/>
                  </a:lnTo>
                  <a:lnTo>
                    <a:pt x="279" y="102"/>
                  </a:lnTo>
                  <a:lnTo>
                    <a:pt x="270" y="121"/>
                  </a:lnTo>
                  <a:lnTo>
                    <a:pt x="251" y="136"/>
                  </a:lnTo>
                  <a:lnTo>
                    <a:pt x="262" y="154"/>
                  </a:lnTo>
                  <a:lnTo>
                    <a:pt x="249" y="167"/>
                  </a:lnTo>
                  <a:lnTo>
                    <a:pt x="207" y="160"/>
                  </a:lnTo>
                  <a:lnTo>
                    <a:pt x="196" y="199"/>
                  </a:lnTo>
                  <a:lnTo>
                    <a:pt x="188" y="260"/>
                  </a:lnTo>
                  <a:lnTo>
                    <a:pt x="164" y="271"/>
                  </a:lnTo>
                  <a:lnTo>
                    <a:pt x="53" y="256"/>
                  </a:lnTo>
                  <a:lnTo>
                    <a:pt x="0" y="258"/>
                  </a:lnTo>
                  <a:lnTo>
                    <a:pt x="2" y="290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31" y="284"/>
                  </a:lnTo>
                  <a:lnTo>
                    <a:pt x="66" y="288"/>
                  </a:lnTo>
                  <a:lnTo>
                    <a:pt x="68" y="290"/>
                  </a:lnTo>
                  <a:lnTo>
                    <a:pt x="68" y="290"/>
                  </a:lnTo>
                  <a:lnTo>
                    <a:pt x="83" y="310"/>
                  </a:lnTo>
                  <a:lnTo>
                    <a:pt x="83" y="310"/>
                  </a:lnTo>
                  <a:lnTo>
                    <a:pt x="83" y="312"/>
                  </a:lnTo>
                  <a:lnTo>
                    <a:pt x="81" y="336"/>
                  </a:lnTo>
                  <a:lnTo>
                    <a:pt x="81" y="338"/>
                  </a:lnTo>
                  <a:lnTo>
                    <a:pt x="81" y="338"/>
                  </a:lnTo>
                  <a:lnTo>
                    <a:pt x="70" y="351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70" y="379"/>
                  </a:lnTo>
                  <a:lnTo>
                    <a:pt x="68" y="405"/>
                  </a:lnTo>
                  <a:lnTo>
                    <a:pt x="66" y="405"/>
                  </a:lnTo>
                  <a:lnTo>
                    <a:pt x="66" y="405"/>
                  </a:lnTo>
                  <a:lnTo>
                    <a:pt x="48" y="420"/>
                  </a:lnTo>
                  <a:lnTo>
                    <a:pt x="42" y="433"/>
                  </a:lnTo>
                  <a:lnTo>
                    <a:pt x="50" y="448"/>
                  </a:lnTo>
                  <a:lnTo>
                    <a:pt x="59" y="451"/>
                  </a:lnTo>
                  <a:lnTo>
                    <a:pt x="61" y="431"/>
                  </a:lnTo>
                  <a:lnTo>
                    <a:pt x="61" y="429"/>
                  </a:lnTo>
                  <a:lnTo>
                    <a:pt x="61" y="429"/>
                  </a:lnTo>
                  <a:lnTo>
                    <a:pt x="74" y="425"/>
                  </a:lnTo>
                  <a:lnTo>
                    <a:pt x="76" y="425"/>
                  </a:lnTo>
                  <a:lnTo>
                    <a:pt x="76" y="425"/>
                  </a:lnTo>
                  <a:lnTo>
                    <a:pt x="83" y="438"/>
                  </a:lnTo>
                  <a:lnTo>
                    <a:pt x="90" y="440"/>
                  </a:lnTo>
                  <a:lnTo>
                    <a:pt x="92" y="422"/>
                  </a:lnTo>
                  <a:lnTo>
                    <a:pt x="92" y="420"/>
                  </a:lnTo>
                  <a:lnTo>
                    <a:pt x="94" y="420"/>
                  </a:lnTo>
                  <a:lnTo>
                    <a:pt x="109" y="420"/>
                  </a:lnTo>
                  <a:lnTo>
                    <a:pt x="111" y="420"/>
                  </a:lnTo>
                  <a:lnTo>
                    <a:pt x="111" y="420"/>
                  </a:lnTo>
                  <a:lnTo>
                    <a:pt x="120" y="451"/>
                  </a:lnTo>
                  <a:lnTo>
                    <a:pt x="138" y="453"/>
                  </a:lnTo>
                  <a:lnTo>
                    <a:pt x="140" y="455"/>
                  </a:lnTo>
                  <a:lnTo>
                    <a:pt x="140" y="455"/>
                  </a:lnTo>
                  <a:lnTo>
                    <a:pt x="168" y="492"/>
                  </a:lnTo>
                  <a:lnTo>
                    <a:pt x="172" y="479"/>
                  </a:lnTo>
                  <a:lnTo>
                    <a:pt x="168" y="444"/>
                  </a:lnTo>
                  <a:lnTo>
                    <a:pt x="168" y="444"/>
                  </a:lnTo>
                  <a:lnTo>
                    <a:pt x="170" y="444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183" y="418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31" y="368"/>
                  </a:lnTo>
                  <a:lnTo>
                    <a:pt x="257" y="375"/>
                  </a:lnTo>
                  <a:lnTo>
                    <a:pt x="260" y="375"/>
                  </a:lnTo>
                  <a:lnTo>
                    <a:pt x="260" y="375"/>
                  </a:lnTo>
                  <a:lnTo>
                    <a:pt x="268" y="390"/>
                  </a:lnTo>
                  <a:lnTo>
                    <a:pt x="268" y="392"/>
                  </a:lnTo>
                  <a:lnTo>
                    <a:pt x="268" y="392"/>
                  </a:lnTo>
                  <a:lnTo>
                    <a:pt x="264" y="418"/>
                  </a:lnTo>
                  <a:lnTo>
                    <a:pt x="264" y="420"/>
                  </a:lnTo>
                  <a:lnTo>
                    <a:pt x="264" y="420"/>
                  </a:lnTo>
                  <a:lnTo>
                    <a:pt x="244" y="440"/>
                  </a:lnTo>
                  <a:lnTo>
                    <a:pt x="209" y="477"/>
                  </a:lnTo>
                  <a:lnTo>
                    <a:pt x="201" y="509"/>
                  </a:lnTo>
                  <a:lnTo>
                    <a:pt x="223" y="509"/>
                  </a:lnTo>
                  <a:lnTo>
                    <a:pt x="225" y="509"/>
                  </a:lnTo>
                  <a:lnTo>
                    <a:pt x="225" y="511"/>
                  </a:lnTo>
                  <a:lnTo>
                    <a:pt x="225" y="542"/>
                  </a:lnTo>
                  <a:lnTo>
                    <a:pt x="244" y="548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57" y="533"/>
                  </a:lnTo>
                  <a:lnTo>
                    <a:pt x="275" y="533"/>
                  </a:lnTo>
                  <a:lnTo>
                    <a:pt x="281" y="503"/>
                  </a:lnTo>
                  <a:lnTo>
                    <a:pt x="281" y="500"/>
                  </a:lnTo>
                  <a:lnTo>
                    <a:pt x="281" y="500"/>
                  </a:lnTo>
                  <a:lnTo>
                    <a:pt x="314" y="468"/>
                  </a:lnTo>
                  <a:lnTo>
                    <a:pt x="305" y="455"/>
                  </a:lnTo>
                  <a:lnTo>
                    <a:pt x="305" y="455"/>
                  </a:lnTo>
                  <a:lnTo>
                    <a:pt x="297" y="440"/>
                  </a:lnTo>
                  <a:lnTo>
                    <a:pt x="294" y="438"/>
                  </a:lnTo>
                  <a:lnTo>
                    <a:pt x="297" y="438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03" y="412"/>
                  </a:lnTo>
                  <a:lnTo>
                    <a:pt x="334" y="381"/>
                  </a:lnTo>
                  <a:lnTo>
                    <a:pt x="336" y="364"/>
                  </a:lnTo>
                  <a:lnTo>
                    <a:pt x="336" y="362"/>
                  </a:lnTo>
                  <a:lnTo>
                    <a:pt x="338" y="364"/>
                  </a:lnTo>
                  <a:lnTo>
                    <a:pt x="360" y="368"/>
                  </a:lnTo>
                  <a:lnTo>
                    <a:pt x="373" y="370"/>
                  </a:lnTo>
                  <a:lnTo>
                    <a:pt x="388" y="353"/>
                  </a:lnTo>
                  <a:lnTo>
                    <a:pt x="390" y="353"/>
                  </a:lnTo>
                  <a:lnTo>
                    <a:pt x="390" y="353"/>
                  </a:lnTo>
                  <a:lnTo>
                    <a:pt x="393" y="353"/>
                  </a:lnTo>
                  <a:lnTo>
                    <a:pt x="393" y="35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Freeform 238">
              <a:extLst>
                <a:ext uri="{FF2B5EF4-FFF2-40B4-BE49-F238E27FC236}">
                  <a16:creationId xmlns:a16="http://schemas.microsoft.com/office/drawing/2014/main" xmlns="" id="{7B91C8D2-3D8C-48F5-9242-4998F128F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2" y="1687"/>
              <a:ext cx="1020" cy="578"/>
            </a:xfrm>
            <a:custGeom>
              <a:avLst/>
              <a:gdLst>
                <a:gd name="T0" fmla="*/ 371 w 1020"/>
                <a:gd name="T1" fmla="*/ 78 h 578"/>
                <a:gd name="T2" fmla="*/ 362 w 1020"/>
                <a:gd name="T3" fmla="*/ 97 h 578"/>
                <a:gd name="T4" fmla="*/ 368 w 1020"/>
                <a:gd name="T5" fmla="*/ 127 h 578"/>
                <a:gd name="T6" fmla="*/ 338 w 1020"/>
                <a:gd name="T7" fmla="*/ 143 h 578"/>
                <a:gd name="T8" fmla="*/ 268 w 1020"/>
                <a:gd name="T9" fmla="*/ 121 h 578"/>
                <a:gd name="T10" fmla="*/ 179 w 1020"/>
                <a:gd name="T11" fmla="*/ 32 h 578"/>
                <a:gd name="T12" fmla="*/ 194 w 1020"/>
                <a:gd name="T13" fmla="*/ 84 h 578"/>
                <a:gd name="T14" fmla="*/ 188 w 1020"/>
                <a:gd name="T15" fmla="*/ 119 h 578"/>
                <a:gd name="T16" fmla="*/ 174 w 1020"/>
                <a:gd name="T17" fmla="*/ 153 h 578"/>
                <a:gd name="T18" fmla="*/ 177 w 1020"/>
                <a:gd name="T19" fmla="*/ 171 h 578"/>
                <a:gd name="T20" fmla="*/ 142 w 1020"/>
                <a:gd name="T21" fmla="*/ 175 h 578"/>
                <a:gd name="T22" fmla="*/ 146 w 1020"/>
                <a:gd name="T23" fmla="*/ 242 h 578"/>
                <a:gd name="T24" fmla="*/ 161 w 1020"/>
                <a:gd name="T25" fmla="*/ 225 h 578"/>
                <a:gd name="T26" fmla="*/ 192 w 1020"/>
                <a:gd name="T27" fmla="*/ 216 h 578"/>
                <a:gd name="T28" fmla="*/ 209 w 1020"/>
                <a:gd name="T29" fmla="*/ 255 h 578"/>
                <a:gd name="T30" fmla="*/ 140 w 1020"/>
                <a:gd name="T31" fmla="*/ 340 h 578"/>
                <a:gd name="T32" fmla="*/ 116 w 1020"/>
                <a:gd name="T33" fmla="*/ 359 h 578"/>
                <a:gd name="T34" fmla="*/ 63 w 1020"/>
                <a:gd name="T35" fmla="*/ 366 h 578"/>
                <a:gd name="T36" fmla="*/ 4 w 1020"/>
                <a:gd name="T37" fmla="*/ 450 h 578"/>
                <a:gd name="T38" fmla="*/ 15 w 1020"/>
                <a:gd name="T39" fmla="*/ 507 h 578"/>
                <a:gd name="T40" fmla="*/ 44 w 1020"/>
                <a:gd name="T41" fmla="*/ 476 h 578"/>
                <a:gd name="T42" fmla="*/ 168 w 1020"/>
                <a:gd name="T43" fmla="*/ 455 h 578"/>
                <a:gd name="T44" fmla="*/ 225 w 1020"/>
                <a:gd name="T45" fmla="*/ 459 h 578"/>
                <a:gd name="T46" fmla="*/ 264 w 1020"/>
                <a:gd name="T47" fmla="*/ 504 h 578"/>
                <a:gd name="T48" fmla="*/ 392 w 1020"/>
                <a:gd name="T49" fmla="*/ 520 h 578"/>
                <a:gd name="T50" fmla="*/ 460 w 1020"/>
                <a:gd name="T51" fmla="*/ 574 h 578"/>
                <a:gd name="T52" fmla="*/ 573 w 1020"/>
                <a:gd name="T53" fmla="*/ 455 h 578"/>
                <a:gd name="T54" fmla="*/ 637 w 1020"/>
                <a:gd name="T55" fmla="*/ 377 h 578"/>
                <a:gd name="T56" fmla="*/ 691 w 1020"/>
                <a:gd name="T57" fmla="*/ 327 h 578"/>
                <a:gd name="T58" fmla="*/ 706 w 1020"/>
                <a:gd name="T59" fmla="*/ 346 h 578"/>
                <a:gd name="T60" fmla="*/ 772 w 1020"/>
                <a:gd name="T61" fmla="*/ 312 h 578"/>
                <a:gd name="T62" fmla="*/ 868 w 1020"/>
                <a:gd name="T63" fmla="*/ 279 h 578"/>
                <a:gd name="T64" fmla="*/ 946 w 1020"/>
                <a:gd name="T65" fmla="*/ 275 h 578"/>
                <a:gd name="T66" fmla="*/ 968 w 1020"/>
                <a:gd name="T67" fmla="*/ 251 h 578"/>
                <a:gd name="T68" fmla="*/ 1005 w 1020"/>
                <a:gd name="T69" fmla="*/ 173 h 578"/>
                <a:gd name="T70" fmla="*/ 1020 w 1020"/>
                <a:gd name="T71" fmla="*/ 145 h 578"/>
                <a:gd name="T72" fmla="*/ 994 w 1020"/>
                <a:gd name="T73" fmla="*/ 158 h 578"/>
                <a:gd name="T74" fmla="*/ 950 w 1020"/>
                <a:gd name="T75" fmla="*/ 179 h 578"/>
                <a:gd name="T76" fmla="*/ 920 w 1020"/>
                <a:gd name="T77" fmla="*/ 175 h 578"/>
                <a:gd name="T78" fmla="*/ 896 w 1020"/>
                <a:gd name="T79" fmla="*/ 201 h 578"/>
                <a:gd name="T80" fmla="*/ 830 w 1020"/>
                <a:gd name="T81" fmla="*/ 205 h 578"/>
                <a:gd name="T82" fmla="*/ 521 w 1020"/>
                <a:gd name="T83" fmla="*/ 13 h 578"/>
                <a:gd name="T84" fmla="*/ 399 w 1020"/>
                <a:gd name="T85" fmla="*/ 0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20" h="578">
                  <a:moveTo>
                    <a:pt x="399" y="0"/>
                  </a:moveTo>
                  <a:lnTo>
                    <a:pt x="355" y="54"/>
                  </a:lnTo>
                  <a:lnTo>
                    <a:pt x="371" y="78"/>
                  </a:lnTo>
                  <a:lnTo>
                    <a:pt x="373" y="78"/>
                  </a:lnTo>
                  <a:lnTo>
                    <a:pt x="371" y="80"/>
                  </a:lnTo>
                  <a:lnTo>
                    <a:pt x="362" y="97"/>
                  </a:lnTo>
                  <a:lnTo>
                    <a:pt x="368" y="125"/>
                  </a:lnTo>
                  <a:lnTo>
                    <a:pt x="368" y="125"/>
                  </a:lnTo>
                  <a:lnTo>
                    <a:pt x="368" y="127"/>
                  </a:lnTo>
                  <a:lnTo>
                    <a:pt x="340" y="143"/>
                  </a:lnTo>
                  <a:lnTo>
                    <a:pt x="340" y="143"/>
                  </a:lnTo>
                  <a:lnTo>
                    <a:pt x="338" y="143"/>
                  </a:lnTo>
                  <a:lnTo>
                    <a:pt x="303" y="121"/>
                  </a:lnTo>
                  <a:lnTo>
                    <a:pt x="270" y="121"/>
                  </a:lnTo>
                  <a:lnTo>
                    <a:pt x="268" y="121"/>
                  </a:lnTo>
                  <a:lnTo>
                    <a:pt x="268" y="121"/>
                  </a:lnTo>
                  <a:lnTo>
                    <a:pt x="264" y="95"/>
                  </a:lnTo>
                  <a:lnTo>
                    <a:pt x="179" y="32"/>
                  </a:lnTo>
                  <a:lnTo>
                    <a:pt x="170" y="45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94" y="84"/>
                  </a:lnTo>
                  <a:lnTo>
                    <a:pt x="188" y="117"/>
                  </a:lnTo>
                  <a:lnTo>
                    <a:pt x="188" y="119"/>
                  </a:lnTo>
                  <a:lnTo>
                    <a:pt x="185" y="119"/>
                  </a:lnTo>
                  <a:lnTo>
                    <a:pt x="166" y="138"/>
                  </a:lnTo>
                  <a:lnTo>
                    <a:pt x="174" y="153"/>
                  </a:lnTo>
                  <a:lnTo>
                    <a:pt x="177" y="153"/>
                  </a:lnTo>
                  <a:lnTo>
                    <a:pt x="177" y="156"/>
                  </a:lnTo>
                  <a:lnTo>
                    <a:pt x="177" y="171"/>
                  </a:lnTo>
                  <a:lnTo>
                    <a:pt x="177" y="173"/>
                  </a:lnTo>
                  <a:lnTo>
                    <a:pt x="174" y="173"/>
                  </a:lnTo>
                  <a:lnTo>
                    <a:pt x="142" y="175"/>
                  </a:lnTo>
                  <a:lnTo>
                    <a:pt x="116" y="208"/>
                  </a:lnTo>
                  <a:lnTo>
                    <a:pt x="116" y="229"/>
                  </a:lnTo>
                  <a:lnTo>
                    <a:pt x="146" y="242"/>
                  </a:lnTo>
                  <a:lnTo>
                    <a:pt x="159" y="227"/>
                  </a:lnTo>
                  <a:lnTo>
                    <a:pt x="159" y="225"/>
                  </a:lnTo>
                  <a:lnTo>
                    <a:pt x="161" y="225"/>
                  </a:lnTo>
                  <a:lnTo>
                    <a:pt x="190" y="216"/>
                  </a:lnTo>
                  <a:lnTo>
                    <a:pt x="192" y="214"/>
                  </a:lnTo>
                  <a:lnTo>
                    <a:pt x="192" y="216"/>
                  </a:lnTo>
                  <a:lnTo>
                    <a:pt x="212" y="253"/>
                  </a:lnTo>
                  <a:lnTo>
                    <a:pt x="212" y="255"/>
                  </a:lnTo>
                  <a:lnTo>
                    <a:pt x="209" y="255"/>
                  </a:lnTo>
                  <a:lnTo>
                    <a:pt x="142" y="309"/>
                  </a:lnTo>
                  <a:lnTo>
                    <a:pt x="140" y="340"/>
                  </a:lnTo>
                  <a:lnTo>
                    <a:pt x="140" y="340"/>
                  </a:lnTo>
                  <a:lnTo>
                    <a:pt x="140" y="342"/>
                  </a:lnTo>
                  <a:lnTo>
                    <a:pt x="116" y="359"/>
                  </a:lnTo>
                  <a:lnTo>
                    <a:pt x="116" y="359"/>
                  </a:lnTo>
                  <a:lnTo>
                    <a:pt x="113" y="359"/>
                  </a:lnTo>
                  <a:lnTo>
                    <a:pt x="83" y="348"/>
                  </a:lnTo>
                  <a:lnTo>
                    <a:pt x="63" y="366"/>
                  </a:lnTo>
                  <a:lnTo>
                    <a:pt x="0" y="435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50"/>
                  </a:lnTo>
                  <a:lnTo>
                    <a:pt x="4" y="498"/>
                  </a:lnTo>
                  <a:lnTo>
                    <a:pt x="15" y="507"/>
                  </a:lnTo>
                  <a:lnTo>
                    <a:pt x="42" y="476"/>
                  </a:lnTo>
                  <a:lnTo>
                    <a:pt x="44" y="474"/>
                  </a:lnTo>
                  <a:lnTo>
                    <a:pt x="44" y="476"/>
                  </a:lnTo>
                  <a:lnTo>
                    <a:pt x="124" y="507"/>
                  </a:lnTo>
                  <a:lnTo>
                    <a:pt x="153" y="494"/>
                  </a:lnTo>
                  <a:lnTo>
                    <a:pt x="168" y="455"/>
                  </a:lnTo>
                  <a:lnTo>
                    <a:pt x="170" y="455"/>
                  </a:lnTo>
                  <a:lnTo>
                    <a:pt x="170" y="455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25" y="459"/>
                  </a:lnTo>
                  <a:lnTo>
                    <a:pt x="264" y="504"/>
                  </a:lnTo>
                  <a:lnTo>
                    <a:pt x="307" y="526"/>
                  </a:lnTo>
                  <a:lnTo>
                    <a:pt x="368" y="533"/>
                  </a:lnTo>
                  <a:lnTo>
                    <a:pt x="392" y="520"/>
                  </a:lnTo>
                  <a:lnTo>
                    <a:pt x="395" y="520"/>
                  </a:lnTo>
                  <a:lnTo>
                    <a:pt x="395" y="520"/>
                  </a:lnTo>
                  <a:lnTo>
                    <a:pt x="460" y="574"/>
                  </a:lnTo>
                  <a:lnTo>
                    <a:pt x="501" y="578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573" y="455"/>
                  </a:lnTo>
                  <a:lnTo>
                    <a:pt x="628" y="407"/>
                  </a:lnTo>
                  <a:lnTo>
                    <a:pt x="637" y="377"/>
                  </a:lnTo>
                  <a:lnTo>
                    <a:pt x="637" y="377"/>
                  </a:lnTo>
                  <a:lnTo>
                    <a:pt x="637" y="374"/>
                  </a:lnTo>
                  <a:lnTo>
                    <a:pt x="691" y="327"/>
                  </a:lnTo>
                  <a:lnTo>
                    <a:pt x="693" y="327"/>
                  </a:lnTo>
                  <a:lnTo>
                    <a:pt x="693" y="329"/>
                  </a:lnTo>
                  <a:lnTo>
                    <a:pt x="706" y="346"/>
                  </a:lnTo>
                  <a:lnTo>
                    <a:pt x="735" y="344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772" y="312"/>
                  </a:lnTo>
                  <a:lnTo>
                    <a:pt x="826" y="312"/>
                  </a:lnTo>
                  <a:lnTo>
                    <a:pt x="868" y="279"/>
                  </a:lnTo>
                  <a:lnTo>
                    <a:pt x="868" y="277"/>
                  </a:lnTo>
                  <a:lnTo>
                    <a:pt x="868" y="277"/>
                  </a:lnTo>
                  <a:lnTo>
                    <a:pt x="946" y="275"/>
                  </a:lnTo>
                  <a:lnTo>
                    <a:pt x="966" y="251"/>
                  </a:lnTo>
                  <a:lnTo>
                    <a:pt x="968" y="251"/>
                  </a:lnTo>
                  <a:lnTo>
                    <a:pt x="968" y="251"/>
                  </a:lnTo>
                  <a:lnTo>
                    <a:pt x="998" y="240"/>
                  </a:lnTo>
                  <a:lnTo>
                    <a:pt x="1018" y="212"/>
                  </a:lnTo>
                  <a:lnTo>
                    <a:pt x="1005" y="173"/>
                  </a:lnTo>
                  <a:lnTo>
                    <a:pt x="1005" y="171"/>
                  </a:lnTo>
                  <a:lnTo>
                    <a:pt x="1005" y="171"/>
                  </a:lnTo>
                  <a:lnTo>
                    <a:pt x="1020" y="145"/>
                  </a:lnTo>
                  <a:lnTo>
                    <a:pt x="1005" y="143"/>
                  </a:lnTo>
                  <a:lnTo>
                    <a:pt x="994" y="158"/>
                  </a:lnTo>
                  <a:lnTo>
                    <a:pt x="994" y="158"/>
                  </a:lnTo>
                  <a:lnTo>
                    <a:pt x="992" y="158"/>
                  </a:lnTo>
                  <a:lnTo>
                    <a:pt x="974" y="158"/>
                  </a:lnTo>
                  <a:lnTo>
                    <a:pt x="950" y="179"/>
                  </a:lnTo>
                  <a:lnTo>
                    <a:pt x="950" y="182"/>
                  </a:lnTo>
                  <a:lnTo>
                    <a:pt x="948" y="182"/>
                  </a:lnTo>
                  <a:lnTo>
                    <a:pt x="920" y="175"/>
                  </a:lnTo>
                  <a:lnTo>
                    <a:pt x="898" y="199"/>
                  </a:lnTo>
                  <a:lnTo>
                    <a:pt x="898" y="199"/>
                  </a:lnTo>
                  <a:lnTo>
                    <a:pt x="896" y="201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830" y="205"/>
                  </a:lnTo>
                  <a:lnTo>
                    <a:pt x="547" y="4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521" y="13"/>
                  </a:lnTo>
                  <a:lnTo>
                    <a:pt x="399" y="0"/>
                  </a:lnTo>
                  <a:lnTo>
                    <a:pt x="399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Freeform 239">
              <a:extLst>
                <a:ext uri="{FF2B5EF4-FFF2-40B4-BE49-F238E27FC236}">
                  <a16:creationId xmlns:a16="http://schemas.microsoft.com/office/drawing/2014/main" xmlns="" id="{0E60860D-9650-4183-A58C-952DC5A40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" y="1362"/>
              <a:ext cx="22" cy="28"/>
            </a:xfrm>
            <a:custGeom>
              <a:avLst/>
              <a:gdLst>
                <a:gd name="T0" fmla="*/ 0 w 22"/>
                <a:gd name="T1" fmla="*/ 17 h 28"/>
                <a:gd name="T2" fmla="*/ 9 w 22"/>
                <a:gd name="T3" fmla="*/ 28 h 28"/>
                <a:gd name="T4" fmla="*/ 22 w 22"/>
                <a:gd name="T5" fmla="*/ 19 h 28"/>
                <a:gd name="T6" fmla="*/ 18 w 22"/>
                <a:gd name="T7" fmla="*/ 6 h 28"/>
                <a:gd name="T8" fmla="*/ 9 w 22"/>
                <a:gd name="T9" fmla="*/ 0 h 28"/>
                <a:gd name="T10" fmla="*/ 3 w 22"/>
                <a:gd name="T11" fmla="*/ 8 h 28"/>
                <a:gd name="T12" fmla="*/ 0 w 22"/>
                <a:gd name="T13" fmla="*/ 17 h 28"/>
                <a:gd name="T14" fmla="*/ 0 w 22"/>
                <a:gd name="T1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8">
                  <a:moveTo>
                    <a:pt x="0" y="17"/>
                  </a:moveTo>
                  <a:lnTo>
                    <a:pt x="9" y="28"/>
                  </a:lnTo>
                  <a:lnTo>
                    <a:pt x="22" y="19"/>
                  </a:lnTo>
                  <a:lnTo>
                    <a:pt x="18" y="6"/>
                  </a:lnTo>
                  <a:lnTo>
                    <a:pt x="9" y="0"/>
                  </a:lnTo>
                  <a:lnTo>
                    <a:pt x="3" y="8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40">
              <a:extLst>
                <a:ext uri="{FF2B5EF4-FFF2-40B4-BE49-F238E27FC236}">
                  <a16:creationId xmlns:a16="http://schemas.microsoft.com/office/drawing/2014/main" xmlns="" id="{C87274D1-38A1-4332-85F4-74DF0BE5A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372"/>
              <a:ext cx="17" cy="39"/>
            </a:xfrm>
            <a:custGeom>
              <a:avLst/>
              <a:gdLst>
                <a:gd name="T0" fmla="*/ 4 w 17"/>
                <a:gd name="T1" fmla="*/ 39 h 39"/>
                <a:gd name="T2" fmla="*/ 17 w 17"/>
                <a:gd name="T3" fmla="*/ 29 h 39"/>
                <a:gd name="T4" fmla="*/ 17 w 17"/>
                <a:gd name="T5" fmla="*/ 5 h 39"/>
                <a:gd name="T6" fmla="*/ 0 w 17"/>
                <a:gd name="T7" fmla="*/ 0 h 39"/>
                <a:gd name="T8" fmla="*/ 4 w 17"/>
                <a:gd name="T9" fmla="*/ 39 h 39"/>
                <a:gd name="T10" fmla="*/ 4 w 17"/>
                <a:gd name="T11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39">
                  <a:moveTo>
                    <a:pt x="4" y="39"/>
                  </a:moveTo>
                  <a:lnTo>
                    <a:pt x="17" y="29"/>
                  </a:lnTo>
                  <a:lnTo>
                    <a:pt x="17" y="5"/>
                  </a:lnTo>
                  <a:lnTo>
                    <a:pt x="0" y="0"/>
                  </a:lnTo>
                  <a:lnTo>
                    <a:pt x="4" y="39"/>
                  </a:lnTo>
                  <a:lnTo>
                    <a:pt x="4" y="3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41">
              <a:extLst>
                <a:ext uri="{FF2B5EF4-FFF2-40B4-BE49-F238E27FC236}">
                  <a16:creationId xmlns:a16="http://schemas.microsoft.com/office/drawing/2014/main" xmlns="" id="{F77BE143-C298-42C7-B1E2-218072838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81" y="1370"/>
              <a:ext cx="749" cy="518"/>
            </a:xfrm>
            <a:custGeom>
              <a:avLst/>
              <a:gdLst>
                <a:gd name="T0" fmla="*/ 728 w 749"/>
                <a:gd name="T1" fmla="*/ 340 h 518"/>
                <a:gd name="T2" fmla="*/ 627 w 749"/>
                <a:gd name="T3" fmla="*/ 280 h 518"/>
                <a:gd name="T4" fmla="*/ 621 w 749"/>
                <a:gd name="T5" fmla="*/ 343 h 518"/>
                <a:gd name="T6" fmla="*/ 573 w 749"/>
                <a:gd name="T7" fmla="*/ 358 h 518"/>
                <a:gd name="T8" fmla="*/ 540 w 749"/>
                <a:gd name="T9" fmla="*/ 358 h 518"/>
                <a:gd name="T10" fmla="*/ 566 w 749"/>
                <a:gd name="T11" fmla="*/ 310 h 518"/>
                <a:gd name="T12" fmla="*/ 444 w 749"/>
                <a:gd name="T13" fmla="*/ 280 h 518"/>
                <a:gd name="T14" fmla="*/ 361 w 749"/>
                <a:gd name="T15" fmla="*/ 256 h 518"/>
                <a:gd name="T16" fmla="*/ 418 w 749"/>
                <a:gd name="T17" fmla="*/ 215 h 518"/>
                <a:gd name="T18" fmla="*/ 346 w 749"/>
                <a:gd name="T19" fmla="*/ 230 h 518"/>
                <a:gd name="T20" fmla="*/ 209 w 749"/>
                <a:gd name="T21" fmla="*/ 180 h 518"/>
                <a:gd name="T22" fmla="*/ 174 w 749"/>
                <a:gd name="T23" fmla="*/ 178 h 518"/>
                <a:gd name="T24" fmla="*/ 74 w 749"/>
                <a:gd name="T25" fmla="*/ 184 h 518"/>
                <a:gd name="T26" fmla="*/ 74 w 749"/>
                <a:gd name="T27" fmla="*/ 126 h 518"/>
                <a:gd name="T28" fmla="*/ 154 w 749"/>
                <a:gd name="T29" fmla="*/ 137 h 518"/>
                <a:gd name="T30" fmla="*/ 170 w 749"/>
                <a:gd name="T31" fmla="*/ 54 h 518"/>
                <a:gd name="T32" fmla="*/ 106 w 749"/>
                <a:gd name="T33" fmla="*/ 54 h 518"/>
                <a:gd name="T34" fmla="*/ 32 w 749"/>
                <a:gd name="T35" fmla="*/ 132 h 518"/>
                <a:gd name="T36" fmla="*/ 13 w 749"/>
                <a:gd name="T37" fmla="*/ 228 h 518"/>
                <a:gd name="T38" fmla="*/ 80 w 749"/>
                <a:gd name="T39" fmla="*/ 286 h 518"/>
                <a:gd name="T40" fmla="*/ 83 w 749"/>
                <a:gd name="T41" fmla="*/ 286 h 518"/>
                <a:gd name="T42" fmla="*/ 222 w 749"/>
                <a:gd name="T43" fmla="*/ 325 h 518"/>
                <a:gd name="T44" fmla="*/ 250 w 749"/>
                <a:gd name="T45" fmla="*/ 317 h 518"/>
                <a:gd name="T46" fmla="*/ 534 w 749"/>
                <a:gd name="T47" fmla="*/ 518 h 518"/>
                <a:gd name="T48" fmla="*/ 619 w 749"/>
                <a:gd name="T49" fmla="*/ 488 h 518"/>
                <a:gd name="T50" fmla="*/ 621 w 749"/>
                <a:gd name="T51" fmla="*/ 488 h 518"/>
                <a:gd name="T52" fmla="*/ 673 w 749"/>
                <a:gd name="T53" fmla="*/ 470 h 518"/>
                <a:gd name="T54" fmla="*/ 675 w 749"/>
                <a:gd name="T55" fmla="*/ 470 h 518"/>
                <a:gd name="T56" fmla="*/ 704 w 749"/>
                <a:gd name="T57" fmla="*/ 455 h 518"/>
                <a:gd name="T58" fmla="*/ 704 w 749"/>
                <a:gd name="T59" fmla="*/ 455 h 518"/>
                <a:gd name="T60" fmla="*/ 736 w 749"/>
                <a:gd name="T61" fmla="*/ 434 h 518"/>
                <a:gd name="T62" fmla="*/ 721 w 749"/>
                <a:gd name="T63" fmla="*/ 405 h 518"/>
                <a:gd name="T64" fmla="*/ 749 w 749"/>
                <a:gd name="T65" fmla="*/ 382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49" h="518">
                  <a:moveTo>
                    <a:pt x="749" y="382"/>
                  </a:moveTo>
                  <a:lnTo>
                    <a:pt x="728" y="340"/>
                  </a:lnTo>
                  <a:lnTo>
                    <a:pt x="671" y="280"/>
                  </a:lnTo>
                  <a:lnTo>
                    <a:pt x="627" y="280"/>
                  </a:lnTo>
                  <a:lnTo>
                    <a:pt x="623" y="306"/>
                  </a:lnTo>
                  <a:lnTo>
                    <a:pt x="621" y="343"/>
                  </a:lnTo>
                  <a:lnTo>
                    <a:pt x="590" y="360"/>
                  </a:lnTo>
                  <a:lnTo>
                    <a:pt x="573" y="358"/>
                  </a:lnTo>
                  <a:lnTo>
                    <a:pt x="562" y="373"/>
                  </a:lnTo>
                  <a:lnTo>
                    <a:pt x="540" y="358"/>
                  </a:lnTo>
                  <a:lnTo>
                    <a:pt x="566" y="334"/>
                  </a:lnTo>
                  <a:lnTo>
                    <a:pt x="566" y="310"/>
                  </a:lnTo>
                  <a:lnTo>
                    <a:pt x="484" y="308"/>
                  </a:lnTo>
                  <a:lnTo>
                    <a:pt x="444" y="280"/>
                  </a:lnTo>
                  <a:lnTo>
                    <a:pt x="383" y="284"/>
                  </a:lnTo>
                  <a:lnTo>
                    <a:pt x="361" y="256"/>
                  </a:lnTo>
                  <a:lnTo>
                    <a:pt x="399" y="252"/>
                  </a:lnTo>
                  <a:lnTo>
                    <a:pt x="418" y="215"/>
                  </a:lnTo>
                  <a:lnTo>
                    <a:pt x="368" y="204"/>
                  </a:lnTo>
                  <a:lnTo>
                    <a:pt x="346" y="230"/>
                  </a:lnTo>
                  <a:lnTo>
                    <a:pt x="335" y="210"/>
                  </a:lnTo>
                  <a:lnTo>
                    <a:pt x="209" y="180"/>
                  </a:lnTo>
                  <a:lnTo>
                    <a:pt x="194" y="195"/>
                  </a:lnTo>
                  <a:lnTo>
                    <a:pt x="174" y="178"/>
                  </a:lnTo>
                  <a:lnTo>
                    <a:pt x="109" y="217"/>
                  </a:lnTo>
                  <a:lnTo>
                    <a:pt x="74" y="184"/>
                  </a:lnTo>
                  <a:lnTo>
                    <a:pt x="85" y="154"/>
                  </a:lnTo>
                  <a:lnTo>
                    <a:pt x="74" y="126"/>
                  </a:lnTo>
                  <a:lnTo>
                    <a:pt x="115" y="111"/>
                  </a:lnTo>
                  <a:lnTo>
                    <a:pt x="154" y="137"/>
                  </a:lnTo>
                  <a:lnTo>
                    <a:pt x="172" y="109"/>
                  </a:lnTo>
                  <a:lnTo>
                    <a:pt x="170" y="54"/>
                  </a:lnTo>
                  <a:lnTo>
                    <a:pt x="120" y="0"/>
                  </a:lnTo>
                  <a:lnTo>
                    <a:pt x="106" y="54"/>
                  </a:lnTo>
                  <a:lnTo>
                    <a:pt x="37" y="98"/>
                  </a:lnTo>
                  <a:lnTo>
                    <a:pt x="32" y="132"/>
                  </a:lnTo>
                  <a:lnTo>
                    <a:pt x="0" y="161"/>
                  </a:lnTo>
                  <a:lnTo>
                    <a:pt x="13" y="228"/>
                  </a:lnTo>
                  <a:lnTo>
                    <a:pt x="48" y="282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3" y="286"/>
                  </a:lnTo>
                  <a:lnTo>
                    <a:pt x="100" y="312"/>
                  </a:lnTo>
                  <a:lnTo>
                    <a:pt x="222" y="325"/>
                  </a:lnTo>
                  <a:lnTo>
                    <a:pt x="248" y="317"/>
                  </a:lnTo>
                  <a:lnTo>
                    <a:pt x="250" y="317"/>
                  </a:lnTo>
                  <a:lnTo>
                    <a:pt x="250" y="317"/>
                  </a:lnTo>
                  <a:lnTo>
                    <a:pt x="534" y="518"/>
                  </a:lnTo>
                  <a:lnTo>
                    <a:pt x="597" y="514"/>
                  </a:lnTo>
                  <a:lnTo>
                    <a:pt x="619" y="488"/>
                  </a:lnTo>
                  <a:lnTo>
                    <a:pt x="619" y="486"/>
                  </a:lnTo>
                  <a:lnTo>
                    <a:pt x="621" y="488"/>
                  </a:lnTo>
                  <a:lnTo>
                    <a:pt x="649" y="494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5" y="470"/>
                  </a:lnTo>
                  <a:lnTo>
                    <a:pt x="693" y="470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04" y="455"/>
                  </a:lnTo>
                  <a:lnTo>
                    <a:pt x="723" y="457"/>
                  </a:lnTo>
                  <a:lnTo>
                    <a:pt x="736" y="434"/>
                  </a:lnTo>
                  <a:lnTo>
                    <a:pt x="721" y="405"/>
                  </a:lnTo>
                  <a:lnTo>
                    <a:pt x="721" y="405"/>
                  </a:lnTo>
                  <a:lnTo>
                    <a:pt x="723" y="403"/>
                  </a:lnTo>
                  <a:lnTo>
                    <a:pt x="749" y="382"/>
                  </a:lnTo>
                  <a:lnTo>
                    <a:pt x="749" y="38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Freeform 242">
              <a:extLst>
                <a:ext uri="{FF2B5EF4-FFF2-40B4-BE49-F238E27FC236}">
                  <a16:creationId xmlns:a16="http://schemas.microsoft.com/office/drawing/2014/main" xmlns="" id="{6DD5EE05-1085-40A8-98D0-953C0ABC6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4" y="1565"/>
              <a:ext cx="48" cy="72"/>
            </a:xfrm>
            <a:custGeom>
              <a:avLst/>
              <a:gdLst>
                <a:gd name="T0" fmla="*/ 46 w 48"/>
                <a:gd name="T1" fmla="*/ 67 h 72"/>
                <a:gd name="T2" fmla="*/ 22 w 48"/>
                <a:gd name="T3" fmla="*/ 72 h 72"/>
                <a:gd name="T4" fmla="*/ 0 w 48"/>
                <a:gd name="T5" fmla="*/ 37 h 72"/>
                <a:gd name="T6" fmla="*/ 7 w 48"/>
                <a:gd name="T7" fmla="*/ 7 h 72"/>
                <a:gd name="T8" fmla="*/ 40 w 48"/>
                <a:gd name="T9" fmla="*/ 0 h 72"/>
                <a:gd name="T10" fmla="*/ 48 w 48"/>
                <a:gd name="T11" fmla="*/ 35 h 72"/>
                <a:gd name="T12" fmla="*/ 46 w 48"/>
                <a:gd name="T13" fmla="*/ 67 h 72"/>
                <a:gd name="T14" fmla="*/ 46 w 48"/>
                <a:gd name="T15" fmla="*/ 6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72">
                  <a:moveTo>
                    <a:pt x="46" y="67"/>
                  </a:moveTo>
                  <a:lnTo>
                    <a:pt x="22" y="72"/>
                  </a:lnTo>
                  <a:lnTo>
                    <a:pt x="0" y="37"/>
                  </a:lnTo>
                  <a:lnTo>
                    <a:pt x="7" y="7"/>
                  </a:lnTo>
                  <a:lnTo>
                    <a:pt x="40" y="0"/>
                  </a:lnTo>
                  <a:lnTo>
                    <a:pt x="48" y="35"/>
                  </a:lnTo>
                  <a:lnTo>
                    <a:pt x="46" y="67"/>
                  </a:lnTo>
                  <a:lnTo>
                    <a:pt x="46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43">
              <a:extLst>
                <a:ext uri="{FF2B5EF4-FFF2-40B4-BE49-F238E27FC236}">
                  <a16:creationId xmlns:a16="http://schemas.microsoft.com/office/drawing/2014/main" xmlns="" id="{389E2323-82AE-425D-B533-320840E4A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" y="1435"/>
              <a:ext cx="72" cy="70"/>
            </a:xfrm>
            <a:custGeom>
              <a:avLst/>
              <a:gdLst>
                <a:gd name="T0" fmla="*/ 0 w 72"/>
                <a:gd name="T1" fmla="*/ 44 h 70"/>
                <a:gd name="T2" fmla="*/ 20 w 72"/>
                <a:gd name="T3" fmla="*/ 67 h 70"/>
                <a:gd name="T4" fmla="*/ 65 w 72"/>
                <a:gd name="T5" fmla="*/ 70 h 70"/>
                <a:gd name="T6" fmla="*/ 72 w 72"/>
                <a:gd name="T7" fmla="*/ 52 h 70"/>
                <a:gd name="T8" fmla="*/ 68 w 72"/>
                <a:gd name="T9" fmla="*/ 26 h 70"/>
                <a:gd name="T10" fmla="*/ 44 w 72"/>
                <a:gd name="T11" fmla="*/ 0 h 70"/>
                <a:gd name="T12" fmla="*/ 9 w 72"/>
                <a:gd name="T13" fmla="*/ 13 h 70"/>
                <a:gd name="T14" fmla="*/ 0 w 72"/>
                <a:gd name="T15" fmla="*/ 44 h 70"/>
                <a:gd name="T16" fmla="*/ 0 w 72"/>
                <a:gd name="T17" fmla="*/ 4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0">
                  <a:moveTo>
                    <a:pt x="0" y="44"/>
                  </a:moveTo>
                  <a:lnTo>
                    <a:pt x="20" y="67"/>
                  </a:lnTo>
                  <a:lnTo>
                    <a:pt x="65" y="70"/>
                  </a:lnTo>
                  <a:lnTo>
                    <a:pt x="72" y="52"/>
                  </a:lnTo>
                  <a:lnTo>
                    <a:pt x="68" y="26"/>
                  </a:lnTo>
                  <a:lnTo>
                    <a:pt x="44" y="0"/>
                  </a:lnTo>
                  <a:lnTo>
                    <a:pt x="9" y="13"/>
                  </a:lnTo>
                  <a:lnTo>
                    <a:pt x="0" y="44"/>
                  </a:lnTo>
                  <a:lnTo>
                    <a:pt x="0" y="4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44">
              <a:extLst>
                <a:ext uri="{FF2B5EF4-FFF2-40B4-BE49-F238E27FC236}">
                  <a16:creationId xmlns:a16="http://schemas.microsoft.com/office/drawing/2014/main" xmlns="" id="{3CBE9EED-624F-4045-B820-D367894CB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9" y="1104"/>
              <a:ext cx="661" cy="407"/>
            </a:xfrm>
            <a:custGeom>
              <a:avLst/>
              <a:gdLst>
                <a:gd name="T0" fmla="*/ 83 w 661"/>
                <a:gd name="T1" fmla="*/ 407 h 407"/>
                <a:gd name="T2" fmla="*/ 94 w 661"/>
                <a:gd name="T3" fmla="*/ 307 h 407"/>
                <a:gd name="T4" fmla="*/ 103 w 661"/>
                <a:gd name="T5" fmla="*/ 268 h 407"/>
                <a:gd name="T6" fmla="*/ 136 w 661"/>
                <a:gd name="T7" fmla="*/ 234 h 407"/>
                <a:gd name="T8" fmla="*/ 175 w 661"/>
                <a:gd name="T9" fmla="*/ 221 h 407"/>
                <a:gd name="T10" fmla="*/ 192 w 661"/>
                <a:gd name="T11" fmla="*/ 197 h 407"/>
                <a:gd name="T12" fmla="*/ 181 w 661"/>
                <a:gd name="T13" fmla="*/ 169 h 407"/>
                <a:gd name="T14" fmla="*/ 212 w 661"/>
                <a:gd name="T15" fmla="*/ 188 h 407"/>
                <a:gd name="T16" fmla="*/ 238 w 661"/>
                <a:gd name="T17" fmla="*/ 186 h 407"/>
                <a:gd name="T18" fmla="*/ 244 w 661"/>
                <a:gd name="T19" fmla="*/ 167 h 407"/>
                <a:gd name="T20" fmla="*/ 262 w 661"/>
                <a:gd name="T21" fmla="*/ 167 h 407"/>
                <a:gd name="T22" fmla="*/ 264 w 661"/>
                <a:gd name="T23" fmla="*/ 147 h 407"/>
                <a:gd name="T24" fmla="*/ 284 w 661"/>
                <a:gd name="T25" fmla="*/ 156 h 407"/>
                <a:gd name="T26" fmla="*/ 288 w 661"/>
                <a:gd name="T27" fmla="*/ 136 h 407"/>
                <a:gd name="T28" fmla="*/ 306 w 661"/>
                <a:gd name="T29" fmla="*/ 151 h 407"/>
                <a:gd name="T30" fmla="*/ 316 w 661"/>
                <a:gd name="T31" fmla="*/ 136 h 407"/>
                <a:gd name="T32" fmla="*/ 321 w 661"/>
                <a:gd name="T33" fmla="*/ 112 h 407"/>
                <a:gd name="T34" fmla="*/ 343 w 661"/>
                <a:gd name="T35" fmla="*/ 128 h 407"/>
                <a:gd name="T36" fmla="*/ 358 w 661"/>
                <a:gd name="T37" fmla="*/ 115 h 407"/>
                <a:gd name="T38" fmla="*/ 388 w 661"/>
                <a:gd name="T39" fmla="*/ 121 h 407"/>
                <a:gd name="T40" fmla="*/ 414 w 661"/>
                <a:gd name="T41" fmla="*/ 93 h 407"/>
                <a:gd name="T42" fmla="*/ 608 w 661"/>
                <a:gd name="T43" fmla="*/ 89 h 407"/>
                <a:gd name="T44" fmla="*/ 654 w 661"/>
                <a:gd name="T45" fmla="*/ 65 h 407"/>
                <a:gd name="T46" fmla="*/ 661 w 661"/>
                <a:gd name="T47" fmla="*/ 30 h 407"/>
                <a:gd name="T48" fmla="*/ 639 w 661"/>
                <a:gd name="T49" fmla="*/ 6 h 407"/>
                <a:gd name="T50" fmla="*/ 593 w 661"/>
                <a:gd name="T51" fmla="*/ 17 h 407"/>
                <a:gd name="T52" fmla="*/ 584 w 661"/>
                <a:gd name="T53" fmla="*/ 34 h 407"/>
                <a:gd name="T54" fmla="*/ 506 w 661"/>
                <a:gd name="T55" fmla="*/ 28 h 407"/>
                <a:gd name="T56" fmla="*/ 471 w 661"/>
                <a:gd name="T57" fmla="*/ 0 h 407"/>
                <a:gd name="T58" fmla="*/ 441 w 661"/>
                <a:gd name="T59" fmla="*/ 17 h 407"/>
                <a:gd name="T60" fmla="*/ 410 w 661"/>
                <a:gd name="T61" fmla="*/ 2 h 407"/>
                <a:gd name="T62" fmla="*/ 371 w 661"/>
                <a:gd name="T63" fmla="*/ 28 h 407"/>
                <a:gd name="T64" fmla="*/ 338 w 661"/>
                <a:gd name="T65" fmla="*/ 28 h 407"/>
                <a:gd name="T66" fmla="*/ 323 w 661"/>
                <a:gd name="T67" fmla="*/ 41 h 407"/>
                <a:gd name="T68" fmla="*/ 301 w 661"/>
                <a:gd name="T69" fmla="*/ 19 h 407"/>
                <a:gd name="T70" fmla="*/ 290 w 661"/>
                <a:gd name="T71" fmla="*/ 65 h 407"/>
                <a:gd name="T72" fmla="*/ 266 w 661"/>
                <a:gd name="T73" fmla="*/ 67 h 407"/>
                <a:gd name="T74" fmla="*/ 264 w 661"/>
                <a:gd name="T75" fmla="*/ 84 h 407"/>
                <a:gd name="T76" fmla="*/ 205 w 661"/>
                <a:gd name="T77" fmla="*/ 104 h 407"/>
                <a:gd name="T78" fmla="*/ 183 w 661"/>
                <a:gd name="T79" fmla="*/ 95 h 407"/>
                <a:gd name="T80" fmla="*/ 170 w 661"/>
                <a:gd name="T81" fmla="*/ 110 h 407"/>
                <a:gd name="T82" fmla="*/ 188 w 661"/>
                <a:gd name="T83" fmla="*/ 128 h 407"/>
                <a:gd name="T84" fmla="*/ 164 w 661"/>
                <a:gd name="T85" fmla="*/ 149 h 407"/>
                <a:gd name="T86" fmla="*/ 125 w 661"/>
                <a:gd name="T87" fmla="*/ 134 h 407"/>
                <a:gd name="T88" fmla="*/ 120 w 661"/>
                <a:gd name="T89" fmla="*/ 162 h 407"/>
                <a:gd name="T90" fmla="*/ 92 w 661"/>
                <a:gd name="T91" fmla="*/ 162 h 407"/>
                <a:gd name="T92" fmla="*/ 90 w 661"/>
                <a:gd name="T93" fmla="*/ 184 h 407"/>
                <a:gd name="T94" fmla="*/ 53 w 661"/>
                <a:gd name="T95" fmla="*/ 203 h 407"/>
                <a:gd name="T96" fmla="*/ 29 w 661"/>
                <a:gd name="T97" fmla="*/ 197 h 407"/>
                <a:gd name="T98" fmla="*/ 0 w 661"/>
                <a:gd name="T99" fmla="*/ 216 h 407"/>
                <a:gd name="T100" fmla="*/ 0 w 661"/>
                <a:gd name="T101" fmla="*/ 245 h 407"/>
                <a:gd name="T102" fmla="*/ 24 w 661"/>
                <a:gd name="T103" fmla="*/ 271 h 407"/>
                <a:gd name="T104" fmla="*/ 27 w 661"/>
                <a:gd name="T105" fmla="*/ 310 h 407"/>
                <a:gd name="T106" fmla="*/ 3 w 661"/>
                <a:gd name="T107" fmla="*/ 331 h 407"/>
                <a:gd name="T108" fmla="*/ 22 w 661"/>
                <a:gd name="T109" fmla="*/ 372 h 407"/>
                <a:gd name="T110" fmla="*/ 42 w 661"/>
                <a:gd name="T111" fmla="*/ 377 h 407"/>
                <a:gd name="T112" fmla="*/ 44 w 661"/>
                <a:gd name="T113" fmla="*/ 394 h 407"/>
                <a:gd name="T114" fmla="*/ 68 w 661"/>
                <a:gd name="T115" fmla="*/ 401 h 407"/>
                <a:gd name="T116" fmla="*/ 83 w 661"/>
                <a:gd name="T117" fmla="*/ 407 h 407"/>
                <a:gd name="T118" fmla="*/ 83 w 661"/>
                <a:gd name="T119" fmla="*/ 407 h 4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1" h="407">
                  <a:moveTo>
                    <a:pt x="83" y="407"/>
                  </a:moveTo>
                  <a:lnTo>
                    <a:pt x="94" y="307"/>
                  </a:lnTo>
                  <a:lnTo>
                    <a:pt x="103" y="268"/>
                  </a:lnTo>
                  <a:lnTo>
                    <a:pt x="136" y="234"/>
                  </a:lnTo>
                  <a:lnTo>
                    <a:pt x="175" y="221"/>
                  </a:lnTo>
                  <a:lnTo>
                    <a:pt x="192" y="197"/>
                  </a:lnTo>
                  <a:lnTo>
                    <a:pt x="181" y="169"/>
                  </a:lnTo>
                  <a:lnTo>
                    <a:pt x="212" y="188"/>
                  </a:lnTo>
                  <a:lnTo>
                    <a:pt x="238" y="186"/>
                  </a:lnTo>
                  <a:lnTo>
                    <a:pt x="244" y="167"/>
                  </a:lnTo>
                  <a:lnTo>
                    <a:pt x="262" y="167"/>
                  </a:lnTo>
                  <a:lnTo>
                    <a:pt x="264" y="147"/>
                  </a:lnTo>
                  <a:lnTo>
                    <a:pt x="284" y="156"/>
                  </a:lnTo>
                  <a:lnTo>
                    <a:pt x="288" y="136"/>
                  </a:lnTo>
                  <a:lnTo>
                    <a:pt x="306" y="151"/>
                  </a:lnTo>
                  <a:lnTo>
                    <a:pt x="316" y="136"/>
                  </a:lnTo>
                  <a:lnTo>
                    <a:pt x="321" y="112"/>
                  </a:lnTo>
                  <a:lnTo>
                    <a:pt x="343" y="128"/>
                  </a:lnTo>
                  <a:lnTo>
                    <a:pt x="358" y="115"/>
                  </a:lnTo>
                  <a:lnTo>
                    <a:pt x="388" y="121"/>
                  </a:lnTo>
                  <a:lnTo>
                    <a:pt x="414" y="93"/>
                  </a:lnTo>
                  <a:lnTo>
                    <a:pt x="608" y="89"/>
                  </a:lnTo>
                  <a:lnTo>
                    <a:pt x="654" y="65"/>
                  </a:lnTo>
                  <a:lnTo>
                    <a:pt x="661" y="30"/>
                  </a:lnTo>
                  <a:lnTo>
                    <a:pt x="639" y="6"/>
                  </a:lnTo>
                  <a:lnTo>
                    <a:pt x="593" y="17"/>
                  </a:lnTo>
                  <a:lnTo>
                    <a:pt x="584" y="34"/>
                  </a:lnTo>
                  <a:lnTo>
                    <a:pt x="506" y="28"/>
                  </a:lnTo>
                  <a:lnTo>
                    <a:pt x="471" y="0"/>
                  </a:lnTo>
                  <a:lnTo>
                    <a:pt x="441" y="17"/>
                  </a:lnTo>
                  <a:lnTo>
                    <a:pt x="410" y="2"/>
                  </a:lnTo>
                  <a:lnTo>
                    <a:pt x="371" y="28"/>
                  </a:lnTo>
                  <a:lnTo>
                    <a:pt x="338" y="28"/>
                  </a:lnTo>
                  <a:lnTo>
                    <a:pt x="323" y="41"/>
                  </a:lnTo>
                  <a:lnTo>
                    <a:pt x="301" y="19"/>
                  </a:lnTo>
                  <a:lnTo>
                    <a:pt x="290" y="65"/>
                  </a:lnTo>
                  <a:lnTo>
                    <a:pt x="266" y="67"/>
                  </a:lnTo>
                  <a:lnTo>
                    <a:pt x="264" y="84"/>
                  </a:lnTo>
                  <a:lnTo>
                    <a:pt x="205" y="104"/>
                  </a:lnTo>
                  <a:lnTo>
                    <a:pt x="183" y="95"/>
                  </a:lnTo>
                  <a:lnTo>
                    <a:pt x="170" y="110"/>
                  </a:lnTo>
                  <a:lnTo>
                    <a:pt x="188" y="128"/>
                  </a:lnTo>
                  <a:lnTo>
                    <a:pt x="164" y="149"/>
                  </a:lnTo>
                  <a:lnTo>
                    <a:pt x="125" y="134"/>
                  </a:lnTo>
                  <a:lnTo>
                    <a:pt x="120" y="162"/>
                  </a:lnTo>
                  <a:lnTo>
                    <a:pt x="92" y="162"/>
                  </a:lnTo>
                  <a:lnTo>
                    <a:pt x="90" y="184"/>
                  </a:lnTo>
                  <a:lnTo>
                    <a:pt x="53" y="203"/>
                  </a:lnTo>
                  <a:lnTo>
                    <a:pt x="29" y="197"/>
                  </a:lnTo>
                  <a:lnTo>
                    <a:pt x="0" y="216"/>
                  </a:lnTo>
                  <a:lnTo>
                    <a:pt x="0" y="245"/>
                  </a:lnTo>
                  <a:lnTo>
                    <a:pt x="24" y="271"/>
                  </a:lnTo>
                  <a:lnTo>
                    <a:pt x="27" y="310"/>
                  </a:lnTo>
                  <a:lnTo>
                    <a:pt x="3" y="331"/>
                  </a:lnTo>
                  <a:lnTo>
                    <a:pt x="22" y="372"/>
                  </a:lnTo>
                  <a:lnTo>
                    <a:pt x="42" y="377"/>
                  </a:lnTo>
                  <a:lnTo>
                    <a:pt x="44" y="394"/>
                  </a:lnTo>
                  <a:lnTo>
                    <a:pt x="68" y="401"/>
                  </a:lnTo>
                  <a:lnTo>
                    <a:pt x="83" y="407"/>
                  </a:lnTo>
                  <a:lnTo>
                    <a:pt x="83" y="40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45">
              <a:extLst>
                <a:ext uri="{FF2B5EF4-FFF2-40B4-BE49-F238E27FC236}">
                  <a16:creationId xmlns:a16="http://schemas.microsoft.com/office/drawing/2014/main" xmlns="" id="{3FBFC899-73DA-480C-8389-5026D8837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1" y="1411"/>
              <a:ext cx="656" cy="635"/>
            </a:xfrm>
            <a:custGeom>
              <a:avLst/>
              <a:gdLst>
                <a:gd name="T0" fmla="*/ 505 w 656"/>
                <a:gd name="T1" fmla="*/ 124 h 635"/>
                <a:gd name="T2" fmla="*/ 457 w 656"/>
                <a:gd name="T3" fmla="*/ 74 h 635"/>
                <a:gd name="T4" fmla="*/ 331 w 656"/>
                <a:gd name="T5" fmla="*/ 141 h 635"/>
                <a:gd name="T6" fmla="*/ 283 w 656"/>
                <a:gd name="T7" fmla="*/ 0 h 635"/>
                <a:gd name="T8" fmla="*/ 239 w 656"/>
                <a:gd name="T9" fmla="*/ 81 h 635"/>
                <a:gd name="T10" fmla="*/ 181 w 656"/>
                <a:gd name="T11" fmla="*/ 52 h 635"/>
                <a:gd name="T12" fmla="*/ 163 w 656"/>
                <a:gd name="T13" fmla="*/ 70 h 635"/>
                <a:gd name="T14" fmla="*/ 148 w 656"/>
                <a:gd name="T15" fmla="*/ 68 h 635"/>
                <a:gd name="T16" fmla="*/ 126 w 656"/>
                <a:gd name="T17" fmla="*/ 78 h 635"/>
                <a:gd name="T18" fmla="*/ 89 w 656"/>
                <a:gd name="T19" fmla="*/ 133 h 635"/>
                <a:gd name="T20" fmla="*/ 106 w 656"/>
                <a:gd name="T21" fmla="*/ 163 h 635"/>
                <a:gd name="T22" fmla="*/ 67 w 656"/>
                <a:gd name="T23" fmla="*/ 230 h 635"/>
                <a:gd name="T24" fmla="*/ 48 w 656"/>
                <a:gd name="T25" fmla="*/ 232 h 635"/>
                <a:gd name="T26" fmla="*/ 4 w 656"/>
                <a:gd name="T27" fmla="*/ 280 h 635"/>
                <a:gd name="T28" fmla="*/ 98 w 656"/>
                <a:gd name="T29" fmla="*/ 427 h 635"/>
                <a:gd name="T30" fmla="*/ 126 w 656"/>
                <a:gd name="T31" fmla="*/ 442 h 635"/>
                <a:gd name="T32" fmla="*/ 198 w 656"/>
                <a:gd name="T33" fmla="*/ 477 h 635"/>
                <a:gd name="T34" fmla="*/ 231 w 656"/>
                <a:gd name="T35" fmla="*/ 516 h 635"/>
                <a:gd name="T36" fmla="*/ 257 w 656"/>
                <a:gd name="T37" fmla="*/ 525 h 635"/>
                <a:gd name="T38" fmla="*/ 250 w 656"/>
                <a:gd name="T39" fmla="*/ 546 h 635"/>
                <a:gd name="T40" fmla="*/ 274 w 656"/>
                <a:gd name="T41" fmla="*/ 562 h 635"/>
                <a:gd name="T42" fmla="*/ 300 w 656"/>
                <a:gd name="T43" fmla="*/ 581 h 635"/>
                <a:gd name="T44" fmla="*/ 322 w 656"/>
                <a:gd name="T45" fmla="*/ 607 h 635"/>
                <a:gd name="T46" fmla="*/ 344 w 656"/>
                <a:gd name="T47" fmla="*/ 620 h 635"/>
                <a:gd name="T48" fmla="*/ 374 w 656"/>
                <a:gd name="T49" fmla="*/ 631 h 635"/>
                <a:gd name="T50" fmla="*/ 398 w 656"/>
                <a:gd name="T51" fmla="*/ 583 h 635"/>
                <a:gd name="T52" fmla="*/ 451 w 656"/>
                <a:gd name="T53" fmla="*/ 497 h 635"/>
                <a:gd name="T54" fmla="*/ 409 w 656"/>
                <a:gd name="T55" fmla="*/ 523 h 635"/>
                <a:gd name="T56" fmla="*/ 372 w 656"/>
                <a:gd name="T57" fmla="*/ 507 h 635"/>
                <a:gd name="T58" fmla="*/ 374 w 656"/>
                <a:gd name="T59" fmla="*/ 484 h 635"/>
                <a:gd name="T60" fmla="*/ 401 w 656"/>
                <a:gd name="T61" fmla="*/ 447 h 635"/>
                <a:gd name="T62" fmla="*/ 433 w 656"/>
                <a:gd name="T63" fmla="*/ 432 h 635"/>
                <a:gd name="T64" fmla="*/ 422 w 656"/>
                <a:gd name="T65" fmla="*/ 412 h 635"/>
                <a:gd name="T66" fmla="*/ 427 w 656"/>
                <a:gd name="T67" fmla="*/ 323 h 635"/>
                <a:gd name="T68" fmla="*/ 438 w 656"/>
                <a:gd name="T69" fmla="*/ 304 h 635"/>
                <a:gd name="T70" fmla="*/ 527 w 656"/>
                <a:gd name="T71" fmla="*/ 369 h 635"/>
                <a:gd name="T72" fmla="*/ 534 w 656"/>
                <a:gd name="T73" fmla="*/ 393 h 635"/>
                <a:gd name="T74" fmla="*/ 566 w 656"/>
                <a:gd name="T75" fmla="*/ 393 h 635"/>
                <a:gd name="T76" fmla="*/ 619 w 656"/>
                <a:gd name="T77" fmla="*/ 373 h 635"/>
                <a:gd name="T78" fmla="*/ 627 w 656"/>
                <a:gd name="T79" fmla="*/ 354 h 635"/>
                <a:gd name="T80" fmla="*/ 614 w 656"/>
                <a:gd name="T81" fmla="*/ 328 h 635"/>
                <a:gd name="T82" fmla="*/ 605 w 656"/>
                <a:gd name="T83" fmla="*/ 245 h 635"/>
                <a:gd name="T84" fmla="*/ 568 w 656"/>
                <a:gd name="T85" fmla="*/ 189 h 635"/>
                <a:gd name="T86" fmla="*/ 555 w 656"/>
                <a:gd name="T87" fmla="*/ 124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6" h="635">
                  <a:moveTo>
                    <a:pt x="555" y="124"/>
                  </a:moveTo>
                  <a:lnTo>
                    <a:pt x="520" y="154"/>
                  </a:lnTo>
                  <a:lnTo>
                    <a:pt x="505" y="124"/>
                  </a:lnTo>
                  <a:lnTo>
                    <a:pt x="527" y="120"/>
                  </a:lnTo>
                  <a:lnTo>
                    <a:pt x="499" y="68"/>
                  </a:lnTo>
                  <a:lnTo>
                    <a:pt x="457" y="74"/>
                  </a:lnTo>
                  <a:lnTo>
                    <a:pt x="414" y="59"/>
                  </a:lnTo>
                  <a:lnTo>
                    <a:pt x="359" y="68"/>
                  </a:lnTo>
                  <a:lnTo>
                    <a:pt x="331" y="141"/>
                  </a:lnTo>
                  <a:lnTo>
                    <a:pt x="309" y="128"/>
                  </a:lnTo>
                  <a:lnTo>
                    <a:pt x="279" y="57"/>
                  </a:lnTo>
                  <a:lnTo>
                    <a:pt x="283" y="0"/>
                  </a:lnTo>
                  <a:lnTo>
                    <a:pt x="233" y="7"/>
                  </a:lnTo>
                  <a:lnTo>
                    <a:pt x="218" y="55"/>
                  </a:lnTo>
                  <a:lnTo>
                    <a:pt x="239" y="81"/>
                  </a:lnTo>
                  <a:lnTo>
                    <a:pt x="220" y="107"/>
                  </a:lnTo>
                  <a:lnTo>
                    <a:pt x="187" y="89"/>
                  </a:lnTo>
                  <a:lnTo>
                    <a:pt x="181" y="52"/>
                  </a:lnTo>
                  <a:lnTo>
                    <a:pt x="181" y="52"/>
                  </a:lnTo>
                  <a:lnTo>
                    <a:pt x="163" y="70"/>
                  </a:lnTo>
                  <a:lnTo>
                    <a:pt x="163" y="70"/>
                  </a:lnTo>
                  <a:lnTo>
                    <a:pt x="161" y="70"/>
                  </a:lnTo>
                  <a:lnTo>
                    <a:pt x="148" y="68"/>
                  </a:lnTo>
                  <a:lnTo>
                    <a:pt x="148" y="68"/>
                  </a:lnTo>
                  <a:lnTo>
                    <a:pt x="128" y="63"/>
                  </a:lnTo>
                  <a:lnTo>
                    <a:pt x="126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96" y="109"/>
                  </a:lnTo>
                  <a:lnTo>
                    <a:pt x="89" y="133"/>
                  </a:lnTo>
                  <a:lnTo>
                    <a:pt x="98" y="148"/>
                  </a:lnTo>
                  <a:lnTo>
                    <a:pt x="106" y="163"/>
                  </a:lnTo>
                  <a:lnTo>
                    <a:pt x="106" y="163"/>
                  </a:lnTo>
                  <a:lnTo>
                    <a:pt x="106" y="165"/>
                  </a:lnTo>
                  <a:lnTo>
                    <a:pt x="74" y="198"/>
                  </a:lnTo>
                  <a:lnTo>
                    <a:pt x="67" y="230"/>
                  </a:lnTo>
                  <a:lnTo>
                    <a:pt x="67" y="232"/>
                  </a:lnTo>
                  <a:lnTo>
                    <a:pt x="65" y="232"/>
                  </a:lnTo>
                  <a:lnTo>
                    <a:pt x="48" y="232"/>
                  </a:lnTo>
                  <a:lnTo>
                    <a:pt x="34" y="245"/>
                  </a:lnTo>
                  <a:lnTo>
                    <a:pt x="34" y="245"/>
                  </a:lnTo>
                  <a:lnTo>
                    <a:pt x="4" y="280"/>
                  </a:lnTo>
                  <a:lnTo>
                    <a:pt x="0" y="319"/>
                  </a:lnTo>
                  <a:lnTo>
                    <a:pt x="74" y="403"/>
                  </a:lnTo>
                  <a:lnTo>
                    <a:pt x="98" y="427"/>
                  </a:lnTo>
                  <a:lnTo>
                    <a:pt x="124" y="442"/>
                  </a:lnTo>
                  <a:lnTo>
                    <a:pt x="126" y="442"/>
                  </a:lnTo>
                  <a:lnTo>
                    <a:pt x="126" y="442"/>
                  </a:lnTo>
                  <a:lnTo>
                    <a:pt x="152" y="475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198" y="477"/>
                  </a:lnTo>
                  <a:lnTo>
                    <a:pt x="215" y="523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31" y="516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0" y="546"/>
                  </a:lnTo>
                  <a:lnTo>
                    <a:pt x="274" y="559"/>
                  </a:lnTo>
                  <a:lnTo>
                    <a:pt x="274" y="559"/>
                  </a:lnTo>
                  <a:lnTo>
                    <a:pt x="274" y="562"/>
                  </a:lnTo>
                  <a:lnTo>
                    <a:pt x="274" y="585"/>
                  </a:lnTo>
                  <a:lnTo>
                    <a:pt x="298" y="581"/>
                  </a:lnTo>
                  <a:lnTo>
                    <a:pt x="300" y="581"/>
                  </a:lnTo>
                  <a:lnTo>
                    <a:pt x="300" y="581"/>
                  </a:lnTo>
                  <a:lnTo>
                    <a:pt x="320" y="605"/>
                  </a:lnTo>
                  <a:lnTo>
                    <a:pt x="322" y="607"/>
                  </a:lnTo>
                  <a:lnTo>
                    <a:pt x="322" y="607"/>
                  </a:lnTo>
                  <a:lnTo>
                    <a:pt x="324" y="635"/>
                  </a:lnTo>
                  <a:lnTo>
                    <a:pt x="344" y="620"/>
                  </a:lnTo>
                  <a:lnTo>
                    <a:pt x="344" y="618"/>
                  </a:lnTo>
                  <a:lnTo>
                    <a:pt x="346" y="620"/>
                  </a:lnTo>
                  <a:lnTo>
                    <a:pt x="374" y="631"/>
                  </a:lnTo>
                  <a:lnTo>
                    <a:pt x="398" y="614"/>
                  </a:lnTo>
                  <a:lnTo>
                    <a:pt x="398" y="585"/>
                  </a:lnTo>
                  <a:lnTo>
                    <a:pt x="398" y="583"/>
                  </a:lnTo>
                  <a:lnTo>
                    <a:pt x="401" y="583"/>
                  </a:lnTo>
                  <a:lnTo>
                    <a:pt x="468" y="529"/>
                  </a:lnTo>
                  <a:lnTo>
                    <a:pt x="451" y="497"/>
                  </a:lnTo>
                  <a:lnTo>
                    <a:pt x="422" y="505"/>
                  </a:lnTo>
                  <a:lnTo>
                    <a:pt x="409" y="523"/>
                  </a:lnTo>
                  <a:lnTo>
                    <a:pt x="409" y="523"/>
                  </a:lnTo>
                  <a:lnTo>
                    <a:pt x="407" y="523"/>
                  </a:lnTo>
                  <a:lnTo>
                    <a:pt x="372" y="507"/>
                  </a:lnTo>
                  <a:lnTo>
                    <a:pt x="372" y="507"/>
                  </a:lnTo>
                  <a:lnTo>
                    <a:pt x="372" y="505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374" y="484"/>
                  </a:lnTo>
                  <a:lnTo>
                    <a:pt x="401" y="447"/>
                  </a:lnTo>
                  <a:lnTo>
                    <a:pt x="401" y="447"/>
                  </a:lnTo>
                  <a:lnTo>
                    <a:pt x="403" y="447"/>
                  </a:lnTo>
                  <a:lnTo>
                    <a:pt x="433" y="445"/>
                  </a:lnTo>
                  <a:lnTo>
                    <a:pt x="433" y="432"/>
                  </a:lnTo>
                  <a:lnTo>
                    <a:pt x="422" y="414"/>
                  </a:lnTo>
                  <a:lnTo>
                    <a:pt x="422" y="414"/>
                  </a:lnTo>
                  <a:lnTo>
                    <a:pt x="422" y="412"/>
                  </a:lnTo>
                  <a:lnTo>
                    <a:pt x="444" y="393"/>
                  </a:lnTo>
                  <a:lnTo>
                    <a:pt x="451" y="360"/>
                  </a:lnTo>
                  <a:lnTo>
                    <a:pt x="427" y="323"/>
                  </a:lnTo>
                  <a:lnTo>
                    <a:pt x="427" y="321"/>
                  </a:lnTo>
                  <a:lnTo>
                    <a:pt x="427" y="321"/>
                  </a:lnTo>
                  <a:lnTo>
                    <a:pt x="438" y="304"/>
                  </a:lnTo>
                  <a:lnTo>
                    <a:pt x="440" y="302"/>
                  </a:lnTo>
                  <a:lnTo>
                    <a:pt x="442" y="304"/>
                  </a:lnTo>
                  <a:lnTo>
                    <a:pt x="527" y="369"/>
                  </a:lnTo>
                  <a:lnTo>
                    <a:pt x="527" y="369"/>
                  </a:lnTo>
                  <a:lnTo>
                    <a:pt x="529" y="371"/>
                  </a:lnTo>
                  <a:lnTo>
                    <a:pt x="534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566" y="393"/>
                  </a:lnTo>
                  <a:lnTo>
                    <a:pt x="601" y="414"/>
                  </a:lnTo>
                  <a:lnTo>
                    <a:pt x="625" y="401"/>
                  </a:lnTo>
                  <a:lnTo>
                    <a:pt x="619" y="373"/>
                  </a:lnTo>
                  <a:lnTo>
                    <a:pt x="619" y="371"/>
                  </a:lnTo>
                  <a:lnTo>
                    <a:pt x="619" y="371"/>
                  </a:lnTo>
                  <a:lnTo>
                    <a:pt x="627" y="354"/>
                  </a:lnTo>
                  <a:lnTo>
                    <a:pt x="612" y="332"/>
                  </a:lnTo>
                  <a:lnTo>
                    <a:pt x="612" y="330"/>
                  </a:lnTo>
                  <a:lnTo>
                    <a:pt x="614" y="328"/>
                  </a:lnTo>
                  <a:lnTo>
                    <a:pt x="656" y="273"/>
                  </a:lnTo>
                  <a:lnTo>
                    <a:pt x="638" y="250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605" y="245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68" y="189"/>
                  </a:lnTo>
                  <a:lnTo>
                    <a:pt x="555" y="124"/>
                  </a:lnTo>
                  <a:lnTo>
                    <a:pt x="555" y="12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46">
              <a:extLst>
                <a:ext uri="{FF2B5EF4-FFF2-40B4-BE49-F238E27FC236}">
                  <a16:creationId xmlns:a16="http://schemas.microsoft.com/office/drawing/2014/main" xmlns="" id="{2FBE6487-CE2B-4D40-8B44-145BCA2B06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744"/>
              <a:ext cx="35" cy="30"/>
            </a:xfrm>
            <a:custGeom>
              <a:avLst/>
              <a:gdLst>
                <a:gd name="T0" fmla="*/ 0 w 35"/>
                <a:gd name="T1" fmla="*/ 17 h 30"/>
                <a:gd name="T2" fmla="*/ 15 w 35"/>
                <a:gd name="T3" fmla="*/ 30 h 30"/>
                <a:gd name="T4" fmla="*/ 35 w 35"/>
                <a:gd name="T5" fmla="*/ 15 h 30"/>
                <a:gd name="T6" fmla="*/ 24 w 35"/>
                <a:gd name="T7" fmla="*/ 0 h 30"/>
                <a:gd name="T8" fmla="*/ 11 w 35"/>
                <a:gd name="T9" fmla="*/ 4 h 30"/>
                <a:gd name="T10" fmla="*/ 0 w 35"/>
                <a:gd name="T11" fmla="*/ 17 h 30"/>
                <a:gd name="T12" fmla="*/ 0 w 35"/>
                <a:gd name="T13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17"/>
                  </a:moveTo>
                  <a:lnTo>
                    <a:pt x="15" y="30"/>
                  </a:lnTo>
                  <a:lnTo>
                    <a:pt x="35" y="15"/>
                  </a:lnTo>
                  <a:lnTo>
                    <a:pt x="24" y="0"/>
                  </a:lnTo>
                  <a:lnTo>
                    <a:pt x="11" y="4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47">
              <a:extLst>
                <a:ext uri="{FF2B5EF4-FFF2-40B4-BE49-F238E27FC236}">
                  <a16:creationId xmlns:a16="http://schemas.microsoft.com/office/drawing/2014/main" xmlns="" id="{9C08FDA1-0404-4DCF-ABB3-631092F889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746"/>
              <a:ext cx="35" cy="37"/>
            </a:xfrm>
            <a:custGeom>
              <a:avLst/>
              <a:gdLst>
                <a:gd name="T0" fmla="*/ 0 w 35"/>
                <a:gd name="T1" fmla="*/ 28 h 37"/>
                <a:gd name="T2" fmla="*/ 11 w 35"/>
                <a:gd name="T3" fmla="*/ 37 h 37"/>
                <a:gd name="T4" fmla="*/ 31 w 35"/>
                <a:gd name="T5" fmla="*/ 26 h 37"/>
                <a:gd name="T6" fmla="*/ 35 w 35"/>
                <a:gd name="T7" fmla="*/ 4 h 37"/>
                <a:gd name="T8" fmla="*/ 22 w 35"/>
                <a:gd name="T9" fmla="*/ 0 h 37"/>
                <a:gd name="T10" fmla="*/ 0 w 35"/>
                <a:gd name="T11" fmla="*/ 28 h 37"/>
                <a:gd name="T12" fmla="*/ 0 w 35"/>
                <a:gd name="T13" fmla="*/ 2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7">
                  <a:moveTo>
                    <a:pt x="0" y="28"/>
                  </a:moveTo>
                  <a:lnTo>
                    <a:pt x="11" y="37"/>
                  </a:lnTo>
                  <a:lnTo>
                    <a:pt x="31" y="26"/>
                  </a:lnTo>
                  <a:lnTo>
                    <a:pt x="35" y="4"/>
                  </a:lnTo>
                  <a:lnTo>
                    <a:pt x="22" y="0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48">
              <a:extLst>
                <a:ext uri="{FF2B5EF4-FFF2-40B4-BE49-F238E27FC236}">
                  <a16:creationId xmlns:a16="http://schemas.microsoft.com/office/drawing/2014/main" xmlns="" id="{01CEC87F-50FB-47FD-8018-CE169065D7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5" y="737"/>
              <a:ext cx="56" cy="50"/>
            </a:xfrm>
            <a:custGeom>
              <a:avLst/>
              <a:gdLst>
                <a:gd name="T0" fmla="*/ 0 w 56"/>
                <a:gd name="T1" fmla="*/ 33 h 50"/>
                <a:gd name="T2" fmla="*/ 19 w 56"/>
                <a:gd name="T3" fmla="*/ 50 h 50"/>
                <a:gd name="T4" fmla="*/ 56 w 56"/>
                <a:gd name="T5" fmla="*/ 33 h 50"/>
                <a:gd name="T6" fmla="*/ 50 w 56"/>
                <a:gd name="T7" fmla="*/ 11 h 50"/>
                <a:gd name="T8" fmla="*/ 24 w 56"/>
                <a:gd name="T9" fmla="*/ 0 h 50"/>
                <a:gd name="T10" fmla="*/ 2 w 56"/>
                <a:gd name="T11" fmla="*/ 20 h 50"/>
                <a:gd name="T12" fmla="*/ 0 w 56"/>
                <a:gd name="T13" fmla="*/ 33 h 50"/>
                <a:gd name="T14" fmla="*/ 0 w 56"/>
                <a:gd name="T1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50">
                  <a:moveTo>
                    <a:pt x="0" y="33"/>
                  </a:moveTo>
                  <a:lnTo>
                    <a:pt x="19" y="50"/>
                  </a:lnTo>
                  <a:lnTo>
                    <a:pt x="56" y="33"/>
                  </a:lnTo>
                  <a:lnTo>
                    <a:pt x="50" y="11"/>
                  </a:lnTo>
                  <a:lnTo>
                    <a:pt x="24" y="0"/>
                  </a:lnTo>
                  <a:lnTo>
                    <a:pt x="2" y="20"/>
                  </a:lnTo>
                  <a:lnTo>
                    <a:pt x="0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49">
              <a:extLst>
                <a:ext uri="{FF2B5EF4-FFF2-40B4-BE49-F238E27FC236}">
                  <a16:creationId xmlns:a16="http://schemas.microsoft.com/office/drawing/2014/main" xmlns="" id="{37464C81-F96E-4CBB-B8FC-0FB9B90DC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6" y="714"/>
              <a:ext cx="26" cy="26"/>
            </a:xfrm>
            <a:custGeom>
              <a:avLst/>
              <a:gdLst>
                <a:gd name="T0" fmla="*/ 0 w 26"/>
                <a:gd name="T1" fmla="*/ 17 h 26"/>
                <a:gd name="T2" fmla="*/ 15 w 26"/>
                <a:gd name="T3" fmla="*/ 26 h 26"/>
                <a:gd name="T4" fmla="*/ 26 w 26"/>
                <a:gd name="T5" fmla="*/ 13 h 26"/>
                <a:gd name="T6" fmla="*/ 13 w 26"/>
                <a:gd name="T7" fmla="*/ 0 h 26"/>
                <a:gd name="T8" fmla="*/ 0 w 26"/>
                <a:gd name="T9" fmla="*/ 17 h 26"/>
                <a:gd name="T10" fmla="*/ 0 w 26"/>
                <a:gd name="T11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15" y="26"/>
                  </a:lnTo>
                  <a:lnTo>
                    <a:pt x="26" y="13"/>
                  </a:lnTo>
                  <a:lnTo>
                    <a:pt x="13" y="0"/>
                  </a:lnTo>
                  <a:lnTo>
                    <a:pt x="0" y="17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50">
              <a:extLst>
                <a:ext uri="{FF2B5EF4-FFF2-40B4-BE49-F238E27FC236}">
                  <a16:creationId xmlns:a16="http://schemas.microsoft.com/office/drawing/2014/main" xmlns="" id="{6F88266F-7D43-45C1-BAD9-A847286E3C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6" y="677"/>
              <a:ext cx="19" cy="28"/>
            </a:xfrm>
            <a:custGeom>
              <a:avLst/>
              <a:gdLst>
                <a:gd name="T0" fmla="*/ 0 w 19"/>
                <a:gd name="T1" fmla="*/ 11 h 28"/>
                <a:gd name="T2" fmla="*/ 4 w 19"/>
                <a:gd name="T3" fmla="*/ 28 h 28"/>
                <a:gd name="T4" fmla="*/ 19 w 19"/>
                <a:gd name="T5" fmla="*/ 21 h 28"/>
                <a:gd name="T6" fmla="*/ 15 w 19"/>
                <a:gd name="T7" fmla="*/ 0 h 28"/>
                <a:gd name="T8" fmla="*/ 0 w 19"/>
                <a:gd name="T9" fmla="*/ 11 h 28"/>
                <a:gd name="T10" fmla="*/ 0 w 19"/>
                <a:gd name="T11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8">
                  <a:moveTo>
                    <a:pt x="0" y="11"/>
                  </a:moveTo>
                  <a:lnTo>
                    <a:pt x="4" y="28"/>
                  </a:lnTo>
                  <a:lnTo>
                    <a:pt x="19" y="21"/>
                  </a:lnTo>
                  <a:lnTo>
                    <a:pt x="15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Freeform 251">
              <a:extLst>
                <a:ext uri="{FF2B5EF4-FFF2-40B4-BE49-F238E27FC236}">
                  <a16:creationId xmlns:a16="http://schemas.microsoft.com/office/drawing/2014/main" xmlns="" id="{B036BB79-0E8A-44D0-8C39-BC006EF53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47" y="629"/>
              <a:ext cx="26" cy="26"/>
            </a:xfrm>
            <a:custGeom>
              <a:avLst/>
              <a:gdLst>
                <a:gd name="T0" fmla="*/ 4 w 26"/>
                <a:gd name="T1" fmla="*/ 17 h 26"/>
                <a:gd name="T2" fmla="*/ 13 w 26"/>
                <a:gd name="T3" fmla="*/ 26 h 26"/>
                <a:gd name="T4" fmla="*/ 26 w 26"/>
                <a:gd name="T5" fmla="*/ 15 h 26"/>
                <a:gd name="T6" fmla="*/ 9 w 26"/>
                <a:gd name="T7" fmla="*/ 0 h 26"/>
                <a:gd name="T8" fmla="*/ 0 w 26"/>
                <a:gd name="T9" fmla="*/ 7 h 26"/>
                <a:gd name="T10" fmla="*/ 4 w 26"/>
                <a:gd name="T11" fmla="*/ 17 h 26"/>
                <a:gd name="T12" fmla="*/ 4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4" y="17"/>
                  </a:moveTo>
                  <a:lnTo>
                    <a:pt x="13" y="26"/>
                  </a:lnTo>
                  <a:lnTo>
                    <a:pt x="26" y="15"/>
                  </a:lnTo>
                  <a:lnTo>
                    <a:pt x="9" y="0"/>
                  </a:lnTo>
                  <a:lnTo>
                    <a:pt x="0" y="7"/>
                  </a:lnTo>
                  <a:lnTo>
                    <a:pt x="4" y="17"/>
                  </a:lnTo>
                  <a:lnTo>
                    <a:pt x="4" y="1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Freeform 252">
              <a:extLst>
                <a:ext uri="{FF2B5EF4-FFF2-40B4-BE49-F238E27FC236}">
                  <a16:creationId xmlns:a16="http://schemas.microsoft.com/office/drawing/2014/main" xmlns="" id="{660C4EEC-C382-42CF-9945-806772100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" y="646"/>
              <a:ext cx="33" cy="35"/>
            </a:xfrm>
            <a:custGeom>
              <a:avLst/>
              <a:gdLst>
                <a:gd name="T0" fmla="*/ 0 w 33"/>
                <a:gd name="T1" fmla="*/ 11 h 35"/>
                <a:gd name="T2" fmla="*/ 5 w 33"/>
                <a:gd name="T3" fmla="*/ 24 h 35"/>
                <a:gd name="T4" fmla="*/ 22 w 33"/>
                <a:gd name="T5" fmla="*/ 35 h 35"/>
                <a:gd name="T6" fmla="*/ 33 w 33"/>
                <a:gd name="T7" fmla="*/ 20 h 35"/>
                <a:gd name="T8" fmla="*/ 22 w 33"/>
                <a:gd name="T9" fmla="*/ 0 h 35"/>
                <a:gd name="T10" fmla="*/ 0 w 33"/>
                <a:gd name="T11" fmla="*/ 11 h 35"/>
                <a:gd name="T12" fmla="*/ 0 w 33"/>
                <a:gd name="T13" fmla="*/ 11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0" y="11"/>
                  </a:moveTo>
                  <a:lnTo>
                    <a:pt x="5" y="24"/>
                  </a:lnTo>
                  <a:lnTo>
                    <a:pt x="22" y="35"/>
                  </a:lnTo>
                  <a:lnTo>
                    <a:pt x="33" y="20"/>
                  </a:lnTo>
                  <a:lnTo>
                    <a:pt x="22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Freeform 253">
              <a:extLst>
                <a:ext uri="{FF2B5EF4-FFF2-40B4-BE49-F238E27FC236}">
                  <a16:creationId xmlns:a16="http://schemas.microsoft.com/office/drawing/2014/main" xmlns="" id="{481F7C22-1C43-4814-AFAE-59E427A18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44" y="670"/>
              <a:ext cx="59" cy="57"/>
            </a:xfrm>
            <a:custGeom>
              <a:avLst/>
              <a:gdLst>
                <a:gd name="T0" fmla="*/ 27 w 59"/>
                <a:gd name="T1" fmla="*/ 0 h 57"/>
                <a:gd name="T2" fmla="*/ 59 w 59"/>
                <a:gd name="T3" fmla="*/ 31 h 57"/>
                <a:gd name="T4" fmla="*/ 55 w 59"/>
                <a:gd name="T5" fmla="*/ 57 h 57"/>
                <a:gd name="T6" fmla="*/ 22 w 59"/>
                <a:gd name="T7" fmla="*/ 44 h 57"/>
                <a:gd name="T8" fmla="*/ 0 w 59"/>
                <a:gd name="T9" fmla="*/ 20 h 57"/>
                <a:gd name="T10" fmla="*/ 27 w 59"/>
                <a:gd name="T11" fmla="*/ 0 h 57"/>
                <a:gd name="T12" fmla="*/ 27 w 59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9" h="57">
                  <a:moveTo>
                    <a:pt x="27" y="0"/>
                  </a:moveTo>
                  <a:lnTo>
                    <a:pt x="59" y="31"/>
                  </a:lnTo>
                  <a:lnTo>
                    <a:pt x="55" y="57"/>
                  </a:lnTo>
                  <a:lnTo>
                    <a:pt x="22" y="44"/>
                  </a:lnTo>
                  <a:lnTo>
                    <a:pt x="0" y="2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Freeform 254">
              <a:extLst>
                <a:ext uri="{FF2B5EF4-FFF2-40B4-BE49-F238E27FC236}">
                  <a16:creationId xmlns:a16="http://schemas.microsoft.com/office/drawing/2014/main" xmlns="" id="{1B7F01BF-8EBD-440E-9769-E60D0475C3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740"/>
              <a:ext cx="57" cy="45"/>
            </a:xfrm>
            <a:custGeom>
              <a:avLst/>
              <a:gdLst>
                <a:gd name="T0" fmla="*/ 0 w 57"/>
                <a:gd name="T1" fmla="*/ 26 h 45"/>
                <a:gd name="T2" fmla="*/ 5 w 57"/>
                <a:gd name="T3" fmla="*/ 45 h 45"/>
                <a:gd name="T4" fmla="*/ 42 w 57"/>
                <a:gd name="T5" fmla="*/ 45 h 45"/>
                <a:gd name="T6" fmla="*/ 57 w 57"/>
                <a:gd name="T7" fmla="*/ 21 h 45"/>
                <a:gd name="T8" fmla="*/ 44 w 57"/>
                <a:gd name="T9" fmla="*/ 0 h 45"/>
                <a:gd name="T10" fmla="*/ 29 w 57"/>
                <a:gd name="T11" fmla="*/ 23 h 45"/>
                <a:gd name="T12" fmla="*/ 5 w 57"/>
                <a:gd name="T13" fmla="*/ 17 h 45"/>
                <a:gd name="T14" fmla="*/ 0 w 57"/>
                <a:gd name="T15" fmla="*/ 26 h 45"/>
                <a:gd name="T16" fmla="*/ 0 w 57"/>
                <a:gd name="T17" fmla="*/ 26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5">
                  <a:moveTo>
                    <a:pt x="0" y="26"/>
                  </a:moveTo>
                  <a:lnTo>
                    <a:pt x="5" y="45"/>
                  </a:lnTo>
                  <a:lnTo>
                    <a:pt x="42" y="45"/>
                  </a:lnTo>
                  <a:lnTo>
                    <a:pt x="57" y="21"/>
                  </a:lnTo>
                  <a:lnTo>
                    <a:pt x="44" y="0"/>
                  </a:lnTo>
                  <a:lnTo>
                    <a:pt x="29" y="23"/>
                  </a:lnTo>
                  <a:lnTo>
                    <a:pt x="5" y="17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Freeform 255">
              <a:extLst>
                <a:ext uri="{FF2B5EF4-FFF2-40B4-BE49-F238E27FC236}">
                  <a16:creationId xmlns:a16="http://schemas.microsoft.com/office/drawing/2014/main" xmlns="" id="{7AC66020-78FB-4667-898C-3ACC541FB9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2" y="798"/>
              <a:ext cx="20" cy="26"/>
            </a:xfrm>
            <a:custGeom>
              <a:avLst/>
              <a:gdLst>
                <a:gd name="T0" fmla="*/ 0 w 20"/>
                <a:gd name="T1" fmla="*/ 13 h 26"/>
                <a:gd name="T2" fmla="*/ 9 w 20"/>
                <a:gd name="T3" fmla="*/ 26 h 26"/>
                <a:gd name="T4" fmla="*/ 20 w 20"/>
                <a:gd name="T5" fmla="*/ 15 h 26"/>
                <a:gd name="T6" fmla="*/ 9 w 20"/>
                <a:gd name="T7" fmla="*/ 0 h 26"/>
                <a:gd name="T8" fmla="*/ 0 w 20"/>
                <a:gd name="T9" fmla="*/ 13 h 26"/>
                <a:gd name="T10" fmla="*/ 0 w 20"/>
                <a:gd name="T1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6">
                  <a:moveTo>
                    <a:pt x="0" y="13"/>
                  </a:moveTo>
                  <a:lnTo>
                    <a:pt x="9" y="26"/>
                  </a:lnTo>
                  <a:lnTo>
                    <a:pt x="20" y="15"/>
                  </a:lnTo>
                  <a:lnTo>
                    <a:pt x="9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Freeform 256">
              <a:extLst>
                <a:ext uri="{FF2B5EF4-FFF2-40B4-BE49-F238E27FC236}">
                  <a16:creationId xmlns:a16="http://schemas.microsoft.com/office/drawing/2014/main" xmlns="" id="{D547E9C3-09F2-441D-9770-BA4BFD08D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0" y="701"/>
              <a:ext cx="33" cy="39"/>
            </a:xfrm>
            <a:custGeom>
              <a:avLst/>
              <a:gdLst>
                <a:gd name="T0" fmla="*/ 0 w 33"/>
                <a:gd name="T1" fmla="*/ 13 h 39"/>
                <a:gd name="T2" fmla="*/ 16 w 33"/>
                <a:gd name="T3" fmla="*/ 39 h 39"/>
                <a:gd name="T4" fmla="*/ 33 w 33"/>
                <a:gd name="T5" fmla="*/ 21 h 39"/>
                <a:gd name="T6" fmla="*/ 24 w 33"/>
                <a:gd name="T7" fmla="*/ 0 h 39"/>
                <a:gd name="T8" fmla="*/ 0 w 33"/>
                <a:gd name="T9" fmla="*/ 13 h 39"/>
                <a:gd name="T10" fmla="*/ 0 w 33"/>
                <a:gd name="T11" fmla="*/ 1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9">
                  <a:moveTo>
                    <a:pt x="0" y="13"/>
                  </a:moveTo>
                  <a:lnTo>
                    <a:pt x="16" y="39"/>
                  </a:lnTo>
                  <a:lnTo>
                    <a:pt x="33" y="21"/>
                  </a:lnTo>
                  <a:lnTo>
                    <a:pt x="24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Freeform 257">
              <a:extLst>
                <a:ext uri="{FF2B5EF4-FFF2-40B4-BE49-F238E27FC236}">
                  <a16:creationId xmlns:a16="http://schemas.microsoft.com/office/drawing/2014/main" xmlns="" id="{8B93E839-EAF0-48DA-BD16-B10DB9376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4" y="696"/>
              <a:ext cx="13" cy="24"/>
            </a:xfrm>
            <a:custGeom>
              <a:avLst/>
              <a:gdLst>
                <a:gd name="T0" fmla="*/ 0 w 13"/>
                <a:gd name="T1" fmla="*/ 9 h 24"/>
                <a:gd name="T2" fmla="*/ 2 w 13"/>
                <a:gd name="T3" fmla="*/ 24 h 24"/>
                <a:gd name="T4" fmla="*/ 13 w 13"/>
                <a:gd name="T5" fmla="*/ 18 h 24"/>
                <a:gd name="T6" fmla="*/ 4 w 13"/>
                <a:gd name="T7" fmla="*/ 0 h 24"/>
                <a:gd name="T8" fmla="*/ 0 w 13"/>
                <a:gd name="T9" fmla="*/ 9 h 24"/>
                <a:gd name="T10" fmla="*/ 0 w 13"/>
                <a:gd name="T11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4">
                  <a:moveTo>
                    <a:pt x="0" y="9"/>
                  </a:moveTo>
                  <a:lnTo>
                    <a:pt x="2" y="24"/>
                  </a:lnTo>
                  <a:lnTo>
                    <a:pt x="13" y="18"/>
                  </a:lnTo>
                  <a:lnTo>
                    <a:pt x="4" y="0"/>
                  </a:lnTo>
                  <a:lnTo>
                    <a:pt x="0" y="9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Freeform 258">
              <a:extLst>
                <a:ext uri="{FF2B5EF4-FFF2-40B4-BE49-F238E27FC236}">
                  <a16:creationId xmlns:a16="http://schemas.microsoft.com/office/drawing/2014/main" xmlns="" id="{F09EF3A3-D244-4CA0-8CCD-D3C9773662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7" y="612"/>
              <a:ext cx="24" cy="26"/>
            </a:xfrm>
            <a:custGeom>
              <a:avLst/>
              <a:gdLst>
                <a:gd name="T0" fmla="*/ 0 w 24"/>
                <a:gd name="T1" fmla="*/ 11 h 26"/>
                <a:gd name="T2" fmla="*/ 13 w 24"/>
                <a:gd name="T3" fmla="*/ 26 h 26"/>
                <a:gd name="T4" fmla="*/ 24 w 24"/>
                <a:gd name="T5" fmla="*/ 15 h 26"/>
                <a:gd name="T6" fmla="*/ 4 w 24"/>
                <a:gd name="T7" fmla="*/ 0 h 26"/>
                <a:gd name="T8" fmla="*/ 0 w 24"/>
                <a:gd name="T9" fmla="*/ 11 h 26"/>
                <a:gd name="T10" fmla="*/ 0 w 24"/>
                <a:gd name="T11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6">
                  <a:moveTo>
                    <a:pt x="0" y="11"/>
                  </a:moveTo>
                  <a:lnTo>
                    <a:pt x="13" y="26"/>
                  </a:lnTo>
                  <a:lnTo>
                    <a:pt x="24" y="15"/>
                  </a:lnTo>
                  <a:lnTo>
                    <a:pt x="4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Freeform 259">
              <a:extLst>
                <a:ext uri="{FF2B5EF4-FFF2-40B4-BE49-F238E27FC236}">
                  <a16:creationId xmlns:a16="http://schemas.microsoft.com/office/drawing/2014/main" xmlns="" id="{0595E96F-5D77-4F85-BDB5-42BF7C66E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4" y="590"/>
              <a:ext cx="65" cy="43"/>
            </a:xfrm>
            <a:custGeom>
              <a:avLst/>
              <a:gdLst>
                <a:gd name="T0" fmla="*/ 0 w 65"/>
                <a:gd name="T1" fmla="*/ 0 h 43"/>
                <a:gd name="T2" fmla="*/ 4 w 65"/>
                <a:gd name="T3" fmla="*/ 22 h 43"/>
                <a:gd name="T4" fmla="*/ 20 w 65"/>
                <a:gd name="T5" fmla="*/ 35 h 43"/>
                <a:gd name="T6" fmla="*/ 44 w 65"/>
                <a:gd name="T7" fmla="*/ 33 h 43"/>
                <a:gd name="T8" fmla="*/ 57 w 65"/>
                <a:gd name="T9" fmla="*/ 43 h 43"/>
                <a:gd name="T10" fmla="*/ 65 w 65"/>
                <a:gd name="T11" fmla="*/ 33 h 43"/>
                <a:gd name="T12" fmla="*/ 48 w 65"/>
                <a:gd name="T13" fmla="*/ 17 h 43"/>
                <a:gd name="T14" fmla="*/ 33 w 65"/>
                <a:gd name="T15" fmla="*/ 22 h 43"/>
                <a:gd name="T16" fmla="*/ 0 w 65"/>
                <a:gd name="T17" fmla="*/ 0 h 43"/>
                <a:gd name="T18" fmla="*/ 0 w 65"/>
                <a:gd name="T19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5" h="43">
                  <a:moveTo>
                    <a:pt x="0" y="0"/>
                  </a:moveTo>
                  <a:lnTo>
                    <a:pt x="4" y="22"/>
                  </a:lnTo>
                  <a:lnTo>
                    <a:pt x="20" y="35"/>
                  </a:lnTo>
                  <a:lnTo>
                    <a:pt x="44" y="33"/>
                  </a:lnTo>
                  <a:lnTo>
                    <a:pt x="57" y="43"/>
                  </a:lnTo>
                  <a:lnTo>
                    <a:pt x="65" y="33"/>
                  </a:lnTo>
                  <a:lnTo>
                    <a:pt x="48" y="17"/>
                  </a:lnTo>
                  <a:lnTo>
                    <a:pt x="33" y="22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Freeform 260">
              <a:extLst>
                <a:ext uri="{FF2B5EF4-FFF2-40B4-BE49-F238E27FC236}">
                  <a16:creationId xmlns:a16="http://schemas.microsoft.com/office/drawing/2014/main" xmlns="" id="{7ABE1C38-E74A-42F9-9391-347FF1014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6" y="631"/>
              <a:ext cx="105" cy="70"/>
            </a:xfrm>
            <a:custGeom>
              <a:avLst/>
              <a:gdLst>
                <a:gd name="T0" fmla="*/ 2 w 105"/>
                <a:gd name="T1" fmla="*/ 13 h 70"/>
                <a:gd name="T2" fmla="*/ 0 w 105"/>
                <a:gd name="T3" fmla="*/ 33 h 70"/>
                <a:gd name="T4" fmla="*/ 18 w 105"/>
                <a:gd name="T5" fmla="*/ 48 h 70"/>
                <a:gd name="T6" fmla="*/ 33 w 105"/>
                <a:gd name="T7" fmla="*/ 70 h 70"/>
                <a:gd name="T8" fmla="*/ 40 w 105"/>
                <a:gd name="T9" fmla="*/ 61 h 70"/>
                <a:gd name="T10" fmla="*/ 35 w 105"/>
                <a:gd name="T11" fmla="*/ 39 h 70"/>
                <a:gd name="T12" fmla="*/ 57 w 105"/>
                <a:gd name="T13" fmla="*/ 35 h 70"/>
                <a:gd name="T14" fmla="*/ 87 w 105"/>
                <a:gd name="T15" fmla="*/ 44 h 70"/>
                <a:gd name="T16" fmla="*/ 105 w 105"/>
                <a:gd name="T17" fmla="*/ 26 h 70"/>
                <a:gd name="T18" fmla="*/ 87 w 105"/>
                <a:gd name="T19" fmla="*/ 7 h 70"/>
                <a:gd name="T20" fmla="*/ 74 w 105"/>
                <a:gd name="T21" fmla="*/ 0 h 70"/>
                <a:gd name="T22" fmla="*/ 59 w 105"/>
                <a:gd name="T23" fmla="*/ 13 h 70"/>
                <a:gd name="T24" fmla="*/ 40 w 105"/>
                <a:gd name="T25" fmla="*/ 15 h 70"/>
                <a:gd name="T26" fmla="*/ 26 w 105"/>
                <a:gd name="T27" fmla="*/ 20 h 70"/>
                <a:gd name="T28" fmla="*/ 2 w 105"/>
                <a:gd name="T29" fmla="*/ 13 h 70"/>
                <a:gd name="T30" fmla="*/ 2 w 105"/>
                <a:gd name="T31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5" h="70">
                  <a:moveTo>
                    <a:pt x="2" y="13"/>
                  </a:moveTo>
                  <a:lnTo>
                    <a:pt x="0" y="33"/>
                  </a:lnTo>
                  <a:lnTo>
                    <a:pt x="18" y="48"/>
                  </a:lnTo>
                  <a:lnTo>
                    <a:pt x="33" y="70"/>
                  </a:lnTo>
                  <a:lnTo>
                    <a:pt x="40" y="61"/>
                  </a:lnTo>
                  <a:lnTo>
                    <a:pt x="35" y="39"/>
                  </a:lnTo>
                  <a:lnTo>
                    <a:pt x="57" y="35"/>
                  </a:lnTo>
                  <a:lnTo>
                    <a:pt x="87" y="44"/>
                  </a:lnTo>
                  <a:lnTo>
                    <a:pt x="105" y="26"/>
                  </a:lnTo>
                  <a:lnTo>
                    <a:pt x="87" y="7"/>
                  </a:lnTo>
                  <a:lnTo>
                    <a:pt x="74" y="0"/>
                  </a:lnTo>
                  <a:lnTo>
                    <a:pt x="59" y="13"/>
                  </a:lnTo>
                  <a:lnTo>
                    <a:pt x="40" y="15"/>
                  </a:lnTo>
                  <a:lnTo>
                    <a:pt x="26" y="20"/>
                  </a:lnTo>
                  <a:lnTo>
                    <a:pt x="2" y="13"/>
                  </a:lnTo>
                  <a:lnTo>
                    <a:pt x="2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Freeform 261">
              <a:extLst>
                <a:ext uri="{FF2B5EF4-FFF2-40B4-BE49-F238E27FC236}">
                  <a16:creationId xmlns:a16="http://schemas.microsoft.com/office/drawing/2014/main" xmlns="" id="{9B2A1389-FAA4-4081-830D-343343F67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1" y="714"/>
              <a:ext cx="13" cy="19"/>
            </a:xfrm>
            <a:custGeom>
              <a:avLst/>
              <a:gdLst>
                <a:gd name="T0" fmla="*/ 2 w 13"/>
                <a:gd name="T1" fmla="*/ 0 h 19"/>
                <a:gd name="T2" fmla="*/ 0 w 13"/>
                <a:gd name="T3" fmla="*/ 13 h 19"/>
                <a:gd name="T4" fmla="*/ 13 w 13"/>
                <a:gd name="T5" fmla="*/ 19 h 19"/>
                <a:gd name="T6" fmla="*/ 13 w 13"/>
                <a:gd name="T7" fmla="*/ 4 h 19"/>
                <a:gd name="T8" fmla="*/ 2 w 13"/>
                <a:gd name="T9" fmla="*/ 0 h 19"/>
                <a:gd name="T10" fmla="*/ 2 w 13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19">
                  <a:moveTo>
                    <a:pt x="2" y="0"/>
                  </a:moveTo>
                  <a:lnTo>
                    <a:pt x="0" y="13"/>
                  </a:lnTo>
                  <a:lnTo>
                    <a:pt x="13" y="19"/>
                  </a:lnTo>
                  <a:lnTo>
                    <a:pt x="13" y="4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Freeform 262">
              <a:extLst>
                <a:ext uri="{FF2B5EF4-FFF2-40B4-BE49-F238E27FC236}">
                  <a16:creationId xmlns:a16="http://schemas.microsoft.com/office/drawing/2014/main" xmlns="" id="{D848E739-550D-4C45-9826-3D20C90742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" y="1251"/>
              <a:ext cx="129" cy="178"/>
            </a:xfrm>
            <a:custGeom>
              <a:avLst/>
              <a:gdLst>
                <a:gd name="T0" fmla="*/ 0 w 129"/>
                <a:gd name="T1" fmla="*/ 11 h 178"/>
                <a:gd name="T2" fmla="*/ 76 w 129"/>
                <a:gd name="T3" fmla="*/ 178 h 178"/>
                <a:gd name="T4" fmla="*/ 124 w 129"/>
                <a:gd name="T5" fmla="*/ 152 h 178"/>
                <a:gd name="T6" fmla="*/ 129 w 129"/>
                <a:gd name="T7" fmla="*/ 61 h 178"/>
                <a:gd name="T8" fmla="*/ 107 w 129"/>
                <a:gd name="T9" fmla="*/ 26 h 178"/>
                <a:gd name="T10" fmla="*/ 96 w 129"/>
                <a:gd name="T11" fmla="*/ 67 h 178"/>
                <a:gd name="T12" fmla="*/ 72 w 129"/>
                <a:gd name="T13" fmla="*/ 54 h 178"/>
                <a:gd name="T14" fmla="*/ 54 w 129"/>
                <a:gd name="T15" fmla="*/ 0 h 178"/>
                <a:gd name="T16" fmla="*/ 30 w 129"/>
                <a:gd name="T17" fmla="*/ 13 h 178"/>
                <a:gd name="T18" fmla="*/ 0 w 129"/>
                <a:gd name="T19" fmla="*/ 11 h 178"/>
                <a:gd name="T20" fmla="*/ 0 w 129"/>
                <a:gd name="T21" fmla="*/ 11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9" h="178">
                  <a:moveTo>
                    <a:pt x="0" y="11"/>
                  </a:moveTo>
                  <a:lnTo>
                    <a:pt x="76" y="178"/>
                  </a:lnTo>
                  <a:lnTo>
                    <a:pt x="124" y="152"/>
                  </a:lnTo>
                  <a:lnTo>
                    <a:pt x="129" y="61"/>
                  </a:lnTo>
                  <a:lnTo>
                    <a:pt x="107" y="26"/>
                  </a:lnTo>
                  <a:lnTo>
                    <a:pt x="96" y="67"/>
                  </a:lnTo>
                  <a:lnTo>
                    <a:pt x="72" y="54"/>
                  </a:lnTo>
                  <a:lnTo>
                    <a:pt x="54" y="0"/>
                  </a:lnTo>
                  <a:lnTo>
                    <a:pt x="30" y="13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8" name="Freeform 263">
              <a:extLst>
                <a:ext uri="{FF2B5EF4-FFF2-40B4-BE49-F238E27FC236}">
                  <a16:creationId xmlns:a16="http://schemas.microsoft.com/office/drawing/2014/main" xmlns="" id="{64C37B5D-DE20-425B-866D-0354717638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2480"/>
              <a:ext cx="353" cy="370"/>
            </a:xfrm>
            <a:custGeom>
              <a:avLst/>
              <a:gdLst>
                <a:gd name="T0" fmla="*/ 248 w 353"/>
                <a:gd name="T1" fmla="*/ 11 h 370"/>
                <a:gd name="T2" fmla="*/ 198 w 353"/>
                <a:gd name="T3" fmla="*/ 30 h 370"/>
                <a:gd name="T4" fmla="*/ 159 w 353"/>
                <a:gd name="T5" fmla="*/ 71 h 370"/>
                <a:gd name="T6" fmla="*/ 96 w 353"/>
                <a:gd name="T7" fmla="*/ 45 h 370"/>
                <a:gd name="T8" fmla="*/ 6 w 353"/>
                <a:gd name="T9" fmla="*/ 67 h 370"/>
                <a:gd name="T10" fmla="*/ 50 w 353"/>
                <a:gd name="T11" fmla="*/ 117 h 370"/>
                <a:gd name="T12" fmla="*/ 0 w 353"/>
                <a:gd name="T13" fmla="*/ 110 h 370"/>
                <a:gd name="T14" fmla="*/ 32 w 353"/>
                <a:gd name="T15" fmla="*/ 132 h 370"/>
                <a:gd name="T16" fmla="*/ 35 w 353"/>
                <a:gd name="T17" fmla="*/ 134 h 370"/>
                <a:gd name="T18" fmla="*/ 63 w 353"/>
                <a:gd name="T19" fmla="*/ 167 h 370"/>
                <a:gd name="T20" fmla="*/ 41 w 353"/>
                <a:gd name="T21" fmla="*/ 206 h 370"/>
                <a:gd name="T22" fmla="*/ 69 w 353"/>
                <a:gd name="T23" fmla="*/ 240 h 370"/>
                <a:gd name="T24" fmla="*/ 63 w 353"/>
                <a:gd name="T25" fmla="*/ 253 h 370"/>
                <a:gd name="T26" fmla="*/ 76 w 353"/>
                <a:gd name="T27" fmla="*/ 297 h 370"/>
                <a:gd name="T28" fmla="*/ 91 w 353"/>
                <a:gd name="T29" fmla="*/ 279 h 370"/>
                <a:gd name="T30" fmla="*/ 115 w 353"/>
                <a:gd name="T31" fmla="*/ 288 h 370"/>
                <a:gd name="T32" fmla="*/ 126 w 353"/>
                <a:gd name="T33" fmla="*/ 273 h 370"/>
                <a:gd name="T34" fmla="*/ 146 w 353"/>
                <a:gd name="T35" fmla="*/ 281 h 370"/>
                <a:gd name="T36" fmla="*/ 148 w 353"/>
                <a:gd name="T37" fmla="*/ 284 h 370"/>
                <a:gd name="T38" fmla="*/ 170 w 353"/>
                <a:gd name="T39" fmla="*/ 323 h 370"/>
                <a:gd name="T40" fmla="*/ 172 w 353"/>
                <a:gd name="T41" fmla="*/ 325 h 370"/>
                <a:gd name="T42" fmla="*/ 183 w 353"/>
                <a:gd name="T43" fmla="*/ 370 h 370"/>
                <a:gd name="T44" fmla="*/ 220 w 353"/>
                <a:gd name="T45" fmla="*/ 351 h 370"/>
                <a:gd name="T46" fmla="*/ 222 w 353"/>
                <a:gd name="T47" fmla="*/ 351 h 370"/>
                <a:gd name="T48" fmla="*/ 294 w 353"/>
                <a:gd name="T49" fmla="*/ 320 h 370"/>
                <a:gd name="T50" fmla="*/ 266 w 353"/>
                <a:gd name="T51" fmla="*/ 303 h 370"/>
                <a:gd name="T52" fmla="*/ 266 w 353"/>
                <a:gd name="T53" fmla="*/ 301 h 370"/>
                <a:gd name="T54" fmla="*/ 239 w 353"/>
                <a:gd name="T55" fmla="*/ 247 h 370"/>
                <a:gd name="T56" fmla="*/ 239 w 353"/>
                <a:gd name="T57" fmla="*/ 245 h 370"/>
                <a:gd name="T58" fmla="*/ 237 w 353"/>
                <a:gd name="T59" fmla="*/ 177 h 370"/>
                <a:gd name="T60" fmla="*/ 237 w 353"/>
                <a:gd name="T61" fmla="*/ 175 h 370"/>
                <a:gd name="T62" fmla="*/ 272 w 353"/>
                <a:gd name="T63" fmla="*/ 156 h 370"/>
                <a:gd name="T64" fmla="*/ 285 w 353"/>
                <a:gd name="T65" fmla="*/ 169 h 370"/>
                <a:gd name="T66" fmla="*/ 322 w 353"/>
                <a:gd name="T67" fmla="*/ 141 h 370"/>
                <a:gd name="T68" fmla="*/ 318 w 353"/>
                <a:gd name="T69" fmla="*/ 95 h 370"/>
                <a:gd name="T70" fmla="*/ 353 w 353"/>
                <a:gd name="T71" fmla="*/ 71 h 370"/>
                <a:gd name="T72" fmla="*/ 320 w 353"/>
                <a:gd name="T73" fmla="*/ 15 h 370"/>
                <a:gd name="T74" fmla="*/ 298 w 353"/>
                <a:gd name="T75" fmla="*/ 28 h 370"/>
                <a:gd name="T76" fmla="*/ 274 w 353"/>
                <a:gd name="T77" fmla="*/ 13 h 370"/>
                <a:gd name="T78" fmla="*/ 248 w 353"/>
                <a:gd name="T79" fmla="*/ 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53" h="370">
                  <a:moveTo>
                    <a:pt x="248" y="0"/>
                  </a:moveTo>
                  <a:lnTo>
                    <a:pt x="248" y="11"/>
                  </a:lnTo>
                  <a:lnTo>
                    <a:pt x="213" y="8"/>
                  </a:lnTo>
                  <a:lnTo>
                    <a:pt x="198" y="30"/>
                  </a:lnTo>
                  <a:lnTo>
                    <a:pt x="181" y="32"/>
                  </a:lnTo>
                  <a:lnTo>
                    <a:pt x="159" y="71"/>
                  </a:lnTo>
                  <a:lnTo>
                    <a:pt x="122" y="84"/>
                  </a:lnTo>
                  <a:lnTo>
                    <a:pt x="96" y="45"/>
                  </a:lnTo>
                  <a:lnTo>
                    <a:pt x="35" y="39"/>
                  </a:lnTo>
                  <a:lnTo>
                    <a:pt x="6" y="67"/>
                  </a:lnTo>
                  <a:lnTo>
                    <a:pt x="67" y="104"/>
                  </a:lnTo>
                  <a:lnTo>
                    <a:pt x="50" y="117"/>
                  </a:lnTo>
                  <a:lnTo>
                    <a:pt x="17" y="97"/>
                  </a:lnTo>
                  <a:lnTo>
                    <a:pt x="0" y="110"/>
                  </a:lnTo>
                  <a:lnTo>
                    <a:pt x="11" y="132"/>
                  </a:lnTo>
                  <a:lnTo>
                    <a:pt x="32" y="132"/>
                  </a:lnTo>
                  <a:lnTo>
                    <a:pt x="35" y="132"/>
                  </a:lnTo>
                  <a:lnTo>
                    <a:pt x="35" y="134"/>
                  </a:lnTo>
                  <a:lnTo>
                    <a:pt x="61" y="167"/>
                  </a:lnTo>
                  <a:lnTo>
                    <a:pt x="63" y="167"/>
                  </a:lnTo>
                  <a:lnTo>
                    <a:pt x="61" y="169"/>
                  </a:lnTo>
                  <a:lnTo>
                    <a:pt x="41" y="206"/>
                  </a:lnTo>
                  <a:lnTo>
                    <a:pt x="67" y="238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3" y="253"/>
                  </a:lnTo>
                  <a:lnTo>
                    <a:pt x="61" y="279"/>
                  </a:lnTo>
                  <a:lnTo>
                    <a:pt x="76" y="297"/>
                  </a:lnTo>
                  <a:lnTo>
                    <a:pt x="89" y="281"/>
                  </a:lnTo>
                  <a:lnTo>
                    <a:pt x="91" y="279"/>
                  </a:lnTo>
                  <a:lnTo>
                    <a:pt x="91" y="279"/>
                  </a:lnTo>
                  <a:lnTo>
                    <a:pt x="115" y="288"/>
                  </a:lnTo>
                  <a:lnTo>
                    <a:pt x="124" y="275"/>
                  </a:lnTo>
                  <a:lnTo>
                    <a:pt x="126" y="273"/>
                  </a:lnTo>
                  <a:lnTo>
                    <a:pt x="126" y="275"/>
                  </a:lnTo>
                  <a:lnTo>
                    <a:pt x="146" y="281"/>
                  </a:lnTo>
                  <a:lnTo>
                    <a:pt x="148" y="281"/>
                  </a:lnTo>
                  <a:lnTo>
                    <a:pt x="148" y="284"/>
                  </a:lnTo>
                  <a:lnTo>
                    <a:pt x="148" y="312"/>
                  </a:lnTo>
                  <a:lnTo>
                    <a:pt x="170" y="323"/>
                  </a:lnTo>
                  <a:lnTo>
                    <a:pt x="172" y="323"/>
                  </a:lnTo>
                  <a:lnTo>
                    <a:pt x="172" y="325"/>
                  </a:lnTo>
                  <a:lnTo>
                    <a:pt x="172" y="353"/>
                  </a:lnTo>
                  <a:lnTo>
                    <a:pt x="183" y="370"/>
                  </a:lnTo>
                  <a:lnTo>
                    <a:pt x="211" y="368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2" y="351"/>
                  </a:lnTo>
                  <a:lnTo>
                    <a:pt x="266" y="351"/>
                  </a:lnTo>
                  <a:lnTo>
                    <a:pt x="294" y="320"/>
                  </a:lnTo>
                  <a:lnTo>
                    <a:pt x="292" y="305"/>
                  </a:lnTo>
                  <a:lnTo>
                    <a:pt x="266" y="303"/>
                  </a:lnTo>
                  <a:lnTo>
                    <a:pt x="266" y="303"/>
                  </a:lnTo>
                  <a:lnTo>
                    <a:pt x="266" y="301"/>
                  </a:lnTo>
                  <a:lnTo>
                    <a:pt x="263" y="279"/>
                  </a:lnTo>
                  <a:lnTo>
                    <a:pt x="239" y="247"/>
                  </a:lnTo>
                  <a:lnTo>
                    <a:pt x="239" y="247"/>
                  </a:lnTo>
                  <a:lnTo>
                    <a:pt x="239" y="245"/>
                  </a:lnTo>
                  <a:lnTo>
                    <a:pt x="253" y="201"/>
                  </a:lnTo>
                  <a:lnTo>
                    <a:pt x="237" y="177"/>
                  </a:lnTo>
                  <a:lnTo>
                    <a:pt x="235" y="175"/>
                  </a:lnTo>
                  <a:lnTo>
                    <a:pt x="237" y="175"/>
                  </a:lnTo>
                  <a:lnTo>
                    <a:pt x="270" y="156"/>
                  </a:lnTo>
                  <a:lnTo>
                    <a:pt x="272" y="156"/>
                  </a:lnTo>
                  <a:lnTo>
                    <a:pt x="272" y="156"/>
                  </a:lnTo>
                  <a:lnTo>
                    <a:pt x="285" y="169"/>
                  </a:lnTo>
                  <a:lnTo>
                    <a:pt x="309" y="167"/>
                  </a:lnTo>
                  <a:lnTo>
                    <a:pt x="322" y="141"/>
                  </a:lnTo>
                  <a:lnTo>
                    <a:pt x="318" y="95"/>
                  </a:lnTo>
                  <a:lnTo>
                    <a:pt x="318" y="95"/>
                  </a:lnTo>
                  <a:lnTo>
                    <a:pt x="318" y="93"/>
                  </a:lnTo>
                  <a:lnTo>
                    <a:pt x="353" y="71"/>
                  </a:lnTo>
                  <a:lnTo>
                    <a:pt x="346" y="15"/>
                  </a:lnTo>
                  <a:lnTo>
                    <a:pt x="320" y="15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74" y="13"/>
                  </a:lnTo>
                  <a:lnTo>
                    <a:pt x="248" y="0"/>
                  </a:lnTo>
                  <a:lnTo>
                    <a:pt x="24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9" name="Freeform 264">
              <a:extLst>
                <a:ext uri="{FF2B5EF4-FFF2-40B4-BE49-F238E27FC236}">
                  <a16:creationId xmlns:a16="http://schemas.microsoft.com/office/drawing/2014/main" xmlns="" id="{BC94FF77-6B25-4D0C-AF5B-B241DC01B1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80" y="2452"/>
              <a:ext cx="368" cy="361"/>
            </a:xfrm>
            <a:custGeom>
              <a:avLst/>
              <a:gdLst>
                <a:gd name="T0" fmla="*/ 283 w 368"/>
                <a:gd name="T1" fmla="*/ 351 h 361"/>
                <a:gd name="T2" fmla="*/ 320 w 368"/>
                <a:gd name="T3" fmla="*/ 303 h 361"/>
                <a:gd name="T4" fmla="*/ 368 w 368"/>
                <a:gd name="T5" fmla="*/ 290 h 361"/>
                <a:gd name="T6" fmla="*/ 346 w 368"/>
                <a:gd name="T7" fmla="*/ 238 h 361"/>
                <a:gd name="T8" fmla="*/ 344 w 368"/>
                <a:gd name="T9" fmla="*/ 236 h 361"/>
                <a:gd name="T10" fmla="*/ 333 w 368"/>
                <a:gd name="T11" fmla="*/ 221 h 361"/>
                <a:gd name="T12" fmla="*/ 333 w 368"/>
                <a:gd name="T13" fmla="*/ 192 h 361"/>
                <a:gd name="T14" fmla="*/ 320 w 368"/>
                <a:gd name="T15" fmla="*/ 197 h 361"/>
                <a:gd name="T16" fmla="*/ 303 w 368"/>
                <a:gd name="T17" fmla="*/ 197 h 361"/>
                <a:gd name="T18" fmla="*/ 300 w 368"/>
                <a:gd name="T19" fmla="*/ 195 h 361"/>
                <a:gd name="T20" fmla="*/ 300 w 368"/>
                <a:gd name="T21" fmla="*/ 173 h 361"/>
                <a:gd name="T22" fmla="*/ 318 w 368"/>
                <a:gd name="T23" fmla="*/ 153 h 361"/>
                <a:gd name="T24" fmla="*/ 281 w 368"/>
                <a:gd name="T25" fmla="*/ 91 h 361"/>
                <a:gd name="T26" fmla="*/ 259 w 368"/>
                <a:gd name="T27" fmla="*/ 86 h 361"/>
                <a:gd name="T28" fmla="*/ 244 w 368"/>
                <a:gd name="T29" fmla="*/ 67 h 361"/>
                <a:gd name="T30" fmla="*/ 244 w 368"/>
                <a:gd name="T31" fmla="*/ 65 h 361"/>
                <a:gd name="T32" fmla="*/ 209 w 368"/>
                <a:gd name="T33" fmla="*/ 26 h 361"/>
                <a:gd name="T34" fmla="*/ 209 w 368"/>
                <a:gd name="T35" fmla="*/ 26 h 361"/>
                <a:gd name="T36" fmla="*/ 178 w 368"/>
                <a:gd name="T37" fmla="*/ 4 h 361"/>
                <a:gd name="T38" fmla="*/ 178 w 368"/>
                <a:gd name="T39" fmla="*/ 4 h 361"/>
                <a:gd name="T40" fmla="*/ 141 w 368"/>
                <a:gd name="T41" fmla="*/ 21 h 361"/>
                <a:gd name="T42" fmla="*/ 141 w 368"/>
                <a:gd name="T43" fmla="*/ 23 h 361"/>
                <a:gd name="T44" fmla="*/ 115 w 368"/>
                <a:gd name="T45" fmla="*/ 99 h 361"/>
                <a:gd name="T46" fmla="*/ 115 w 368"/>
                <a:gd name="T47" fmla="*/ 101 h 361"/>
                <a:gd name="T48" fmla="*/ 85 w 368"/>
                <a:gd name="T49" fmla="*/ 169 h 361"/>
                <a:gd name="T50" fmla="*/ 85 w 368"/>
                <a:gd name="T51" fmla="*/ 169 h 361"/>
                <a:gd name="T52" fmla="*/ 69 w 368"/>
                <a:gd name="T53" fmla="*/ 199 h 361"/>
                <a:gd name="T54" fmla="*/ 43 w 368"/>
                <a:gd name="T55" fmla="*/ 201 h 361"/>
                <a:gd name="T56" fmla="*/ 41 w 368"/>
                <a:gd name="T57" fmla="*/ 199 h 361"/>
                <a:gd name="T58" fmla="*/ 0 w 368"/>
                <a:gd name="T59" fmla="*/ 205 h 361"/>
                <a:gd name="T60" fmla="*/ 15 w 368"/>
                <a:gd name="T61" fmla="*/ 227 h 361"/>
                <a:gd name="T62" fmla="*/ 2 w 368"/>
                <a:gd name="T63" fmla="*/ 273 h 361"/>
                <a:gd name="T64" fmla="*/ 80 w 368"/>
                <a:gd name="T65" fmla="*/ 312 h 361"/>
                <a:gd name="T66" fmla="*/ 87 w 368"/>
                <a:gd name="T67" fmla="*/ 294 h 361"/>
                <a:gd name="T68" fmla="*/ 106 w 368"/>
                <a:gd name="T69" fmla="*/ 296 h 361"/>
                <a:gd name="T70" fmla="*/ 109 w 368"/>
                <a:gd name="T71" fmla="*/ 296 h 361"/>
                <a:gd name="T72" fmla="*/ 137 w 368"/>
                <a:gd name="T73" fmla="*/ 329 h 361"/>
                <a:gd name="T74" fmla="*/ 157 w 368"/>
                <a:gd name="T75" fmla="*/ 316 h 361"/>
                <a:gd name="T76" fmla="*/ 224 w 368"/>
                <a:gd name="T77" fmla="*/ 329 h 361"/>
                <a:gd name="T78" fmla="*/ 226 w 368"/>
                <a:gd name="T79" fmla="*/ 331 h 361"/>
                <a:gd name="T80" fmla="*/ 244 w 368"/>
                <a:gd name="T81" fmla="*/ 36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68" h="361">
                  <a:moveTo>
                    <a:pt x="244" y="361"/>
                  </a:moveTo>
                  <a:lnTo>
                    <a:pt x="283" y="351"/>
                  </a:lnTo>
                  <a:lnTo>
                    <a:pt x="287" y="320"/>
                  </a:lnTo>
                  <a:lnTo>
                    <a:pt x="320" y="303"/>
                  </a:lnTo>
                  <a:lnTo>
                    <a:pt x="357" y="292"/>
                  </a:lnTo>
                  <a:lnTo>
                    <a:pt x="368" y="290"/>
                  </a:lnTo>
                  <a:lnTo>
                    <a:pt x="368" y="242"/>
                  </a:lnTo>
                  <a:lnTo>
                    <a:pt x="346" y="238"/>
                  </a:lnTo>
                  <a:lnTo>
                    <a:pt x="346" y="236"/>
                  </a:lnTo>
                  <a:lnTo>
                    <a:pt x="344" y="236"/>
                  </a:lnTo>
                  <a:lnTo>
                    <a:pt x="335" y="221"/>
                  </a:lnTo>
                  <a:lnTo>
                    <a:pt x="333" y="221"/>
                  </a:lnTo>
                  <a:lnTo>
                    <a:pt x="333" y="221"/>
                  </a:lnTo>
                  <a:lnTo>
                    <a:pt x="333" y="192"/>
                  </a:lnTo>
                  <a:lnTo>
                    <a:pt x="320" y="197"/>
                  </a:lnTo>
                  <a:lnTo>
                    <a:pt x="320" y="197"/>
                  </a:lnTo>
                  <a:lnTo>
                    <a:pt x="318" y="197"/>
                  </a:lnTo>
                  <a:lnTo>
                    <a:pt x="303" y="197"/>
                  </a:lnTo>
                  <a:lnTo>
                    <a:pt x="300" y="197"/>
                  </a:lnTo>
                  <a:lnTo>
                    <a:pt x="300" y="195"/>
                  </a:lnTo>
                  <a:lnTo>
                    <a:pt x="300" y="173"/>
                  </a:lnTo>
                  <a:lnTo>
                    <a:pt x="300" y="173"/>
                  </a:lnTo>
                  <a:lnTo>
                    <a:pt x="303" y="173"/>
                  </a:lnTo>
                  <a:lnTo>
                    <a:pt x="318" y="153"/>
                  </a:lnTo>
                  <a:lnTo>
                    <a:pt x="318" y="127"/>
                  </a:lnTo>
                  <a:lnTo>
                    <a:pt x="281" y="91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59" y="86"/>
                  </a:lnTo>
                  <a:lnTo>
                    <a:pt x="244" y="67"/>
                  </a:lnTo>
                  <a:lnTo>
                    <a:pt x="244" y="65"/>
                  </a:lnTo>
                  <a:lnTo>
                    <a:pt x="244" y="65"/>
                  </a:lnTo>
                  <a:lnTo>
                    <a:pt x="242" y="3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209" y="26"/>
                  </a:lnTo>
                  <a:lnTo>
                    <a:pt x="196" y="0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78" y="4"/>
                  </a:lnTo>
                  <a:lnTo>
                    <a:pt x="146" y="0"/>
                  </a:lnTo>
                  <a:lnTo>
                    <a:pt x="141" y="21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09" y="43"/>
                  </a:lnTo>
                  <a:lnTo>
                    <a:pt x="115" y="99"/>
                  </a:lnTo>
                  <a:lnTo>
                    <a:pt x="115" y="101"/>
                  </a:lnTo>
                  <a:lnTo>
                    <a:pt x="115" y="101"/>
                  </a:lnTo>
                  <a:lnTo>
                    <a:pt x="80" y="123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85" y="169"/>
                  </a:lnTo>
                  <a:lnTo>
                    <a:pt x="69" y="199"/>
                  </a:lnTo>
                  <a:lnTo>
                    <a:pt x="69" y="199"/>
                  </a:lnTo>
                  <a:lnTo>
                    <a:pt x="67" y="199"/>
                  </a:lnTo>
                  <a:lnTo>
                    <a:pt x="43" y="201"/>
                  </a:lnTo>
                  <a:lnTo>
                    <a:pt x="41" y="201"/>
                  </a:lnTo>
                  <a:lnTo>
                    <a:pt x="41" y="199"/>
                  </a:lnTo>
                  <a:lnTo>
                    <a:pt x="30" y="188"/>
                  </a:lnTo>
                  <a:lnTo>
                    <a:pt x="0" y="205"/>
                  </a:lnTo>
                  <a:lnTo>
                    <a:pt x="15" y="227"/>
                  </a:lnTo>
                  <a:lnTo>
                    <a:pt x="15" y="227"/>
                  </a:lnTo>
                  <a:lnTo>
                    <a:pt x="15" y="229"/>
                  </a:lnTo>
                  <a:lnTo>
                    <a:pt x="2" y="273"/>
                  </a:lnTo>
                  <a:lnTo>
                    <a:pt x="24" y="305"/>
                  </a:lnTo>
                  <a:lnTo>
                    <a:pt x="80" y="312"/>
                  </a:lnTo>
                  <a:lnTo>
                    <a:pt x="87" y="294"/>
                  </a:lnTo>
                  <a:lnTo>
                    <a:pt x="87" y="294"/>
                  </a:lnTo>
                  <a:lnTo>
                    <a:pt x="89" y="294"/>
                  </a:lnTo>
                  <a:lnTo>
                    <a:pt x="106" y="296"/>
                  </a:lnTo>
                  <a:lnTo>
                    <a:pt x="109" y="296"/>
                  </a:lnTo>
                  <a:lnTo>
                    <a:pt x="109" y="296"/>
                  </a:lnTo>
                  <a:lnTo>
                    <a:pt x="115" y="325"/>
                  </a:lnTo>
                  <a:lnTo>
                    <a:pt x="137" y="329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157" y="316"/>
                  </a:lnTo>
                  <a:lnTo>
                    <a:pt x="224" y="329"/>
                  </a:lnTo>
                  <a:lnTo>
                    <a:pt x="226" y="331"/>
                  </a:lnTo>
                  <a:lnTo>
                    <a:pt x="226" y="331"/>
                  </a:lnTo>
                  <a:lnTo>
                    <a:pt x="244" y="361"/>
                  </a:lnTo>
                  <a:lnTo>
                    <a:pt x="244" y="3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0" name="Freeform 265">
              <a:extLst>
                <a:ext uri="{FF2B5EF4-FFF2-40B4-BE49-F238E27FC236}">
                  <a16:creationId xmlns:a16="http://schemas.microsoft.com/office/drawing/2014/main" xmlns="" id="{4525436E-97EE-4170-820F-D55EFA6CC4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4" y="2772"/>
              <a:ext cx="190" cy="314"/>
            </a:xfrm>
            <a:custGeom>
              <a:avLst/>
              <a:gdLst>
                <a:gd name="T0" fmla="*/ 24 w 190"/>
                <a:gd name="T1" fmla="*/ 301 h 314"/>
                <a:gd name="T2" fmla="*/ 59 w 190"/>
                <a:gd name="T3" fmla="*/ 314 h 314"/>
                <a:gd name="T4" fmla="*/ 155 w 190"/>
                <a:gd name="T5" fmla="*/ 312 h 314"/>
                <a:gd name="T6" fmla="*/ 148 w 190"/>
                <a:gd name="T7" fmla="*/ 273 h 314"/>
                <a:gd name="T8" fmla="*/ 172 w 190"/>
                <a:gd name="T9" fmla="*/ 269 h 314"/>
                <a:gd name="T10" fmla="*/ 190 w 190"/>
                <a:gd name="T11" fmla="*/ 167 h 314"/>
                <a:gd name="T12" fmla="*/ 174 w 190"/>
                <a:gd name="T13" fmla="*/ 145 h 314"/>
                <a:gd name="T14" fmla="*/ 150 w 190"/>
                <a:gd name="T15" fmla="*/ 141 h 314"/>
                <a:gd name="T16" fmla="*/ 153 w 190"/>
                <a:gd name="T17" fmla="*/ 122 h 314"/>
                <a:gd name="T18" fmla="*/ 183 w 190"/>
                <a:gd name="T19" fmla="*/ 93 h 314"/>
                <a:gd name="T20" fmla="*/ 157 w 190"/>
                <a:gd name="T21" fmla="*/ 59 h 314"/>
                <a:gd name="T22" fmla="*/ 170 w 190"/>
                <a:gd name="T23" fmla="*/ 52 h 314"/>
                <a:gd name="T24" fmla="*/ 185 w 190"/>
                <a:gd name="T25" fmla="*/ 44 h 314"/>
                <a:gd name="T26" fmla="*/ 168 w 190"/>
                <a:gd name="T27" fmla="*/ 13 h 314"/>
                <a:gd name="T28" fmla="*/ 103 w 190"/>
                <a:gd name="T29" fmla="*/ 0 h 314"/>
                <a:gd name="T30" fmla="*/ 85 w 190"/>
                <a:gd name="T31" fmla="*/ 11 h 314"/>
                <a:gd name="T32" fmla="*/ 98 w 190"/>
                <a:gd name="T33" fmla="*/ 44 h 314"/>
                <a:gd name="T34" fmla="*/ 98 w 190"/>
                <a:gd name="T35" fmla="*/ 44 h 314"/>
                <a:gd name="T36" fmla="*/ 98 w 190"/>
                <a:gd name="T37" fmla="*/ 44 h 314"/>
                <a:gd name="T38" fmla="*/ 85 w 190"/>
                <a:gd name="T39" fmla="*/ 102 h 314"/>
                <a:gd name="T40" fmla="*/ 100 w 190"/>
                <a:gd name="T41" fmla="*/ 130 h 314"/>
                <a:gd name="T42" fmla="*/ 100 w 190"/>
                <a:gd name="T43" fmla="*/ 130 h 314"/>
                <a:gd name="T44" fmla="*/ 100 w 190"/>
                <a:gd name="T45" fmla="*/ 132 h 314"/>
                <a:gd name="T46" fmla="*/ 85 w 190"/>
                <a:gd name="T47" fmla="*/ 178 h 314"/>
                <a:gd name="T48" fmla="*/ 92 w 190"/>
                <a:gd name="T49" fmla="*/ 204 h 314"/>
                <a:gd name="T50" fmla="*/ 92 w 190"/>
                <a:gd name="T51" fmla="*/ 208 h 314"/>
                <a:gd name="T52" fmla="*/ 89 w 190"/>
                <a:gd name="T53" fmla="*/ 208 h 314"/>
                <a:gd name="T54" fmla="*/ 61 w 190"/>
                <a:gd name="T55" fmla="*/ 204 h 314"/>
                <a:gd name="T56" fmla="*/ 46 w 190"/>
                <a:gd name="T57" fmla="*/ 210 h 314"/>
                <a:gd name="T58" fmla="*/ 46 w 190"/>
                <a:gd name="T59" fmla="*/ 210 h 314"/>
                <a:gd name="T60" fmla="*/ 44 w 190"/>
                <a:gd name="T61" fmla="*/ 210 h 314"/>
                <a:gd name="T62" fmla="*/ 35 w 190"/>
                <a:gd name="T63" fmla="*/ 195 h 314"/>
                <a:gd name="T64" fmla="*/ 24 w 190"/>
                <a:gd name="T65" fmla="*/ 206 h 314"/>
                <a:gd name="T66" fmla="*/ 39 w 190"/>
                <a:gd name="T67" fmla="*/ 241 h 314"/>
                <a:gd name="T68" fmla="*/ 39 w 190"/>
                <a:gd name="T69" fmla="*/ 243 h 314"/>
                <a:gd name="T70" fmla="*/ 39 w 190"/>
                <a:gd name="T71" fmla="*/ 243 h 314"/>
                <a:gd name="T72" fmla="*/ 20 w 190"/>
                <a:gd name="T73" fmla="*/ 258 h 314"/>
                <a:gd name="T74" fmla="*/ 20 w 190"/>
                <a:gd name="T75" fmla="*/ 260 h 314"/>
                <a:gd name="T76" fmla="*/ 20 w 190"/>
                <a:gd name="T77" fmla="*/ 260 h 314"/>
                <a:gd name="T78" fmla="*/ 0 w 190"/>
                <a:gd name="T79" fmla="*/ 269 h 314"/>
                <a:gd name="T80" fmla="*/ 24 w 190"/>
                <a:gd name="T81" fmla="*/ 301 h 314"/>
                <a:gd name="T82" fmla="*/ 24 w 190"/>
                <a:gd name="T83" fmla="*/ 30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0" h="314">
                  <a:moveTo>
                    <a:pt x="24" y="301"/>
                  </a:moveTo>
                  <a:lnTo>
                    <a:pt x="59" y="314"/>
                  </a:lnTo>
                  <a:lnTo>
                    <a:pt x="155" y="312"/>
                  </a:lnTo>
                  <a:lnTo>
                    <a:pt x="148" y="273"/>
                  </a:lnTo>
                  <a:lnTo>
                    <a:pt x="172" y="269"/>
                  </a:lnTo>
                  <a:lnTo>
                    <a:pt x="190" y="167"/>
                  </a:lnTo>
                  <a:lnTo>
                    <a:pt x="174" y="145"/>
                  </a:lnTo>
                  <a:lnTo>
                    <a:pt x="150" y="141"/>
                  </a:lnTo>
                  <a:lnTo>
                    <a:pt x="153" y="122"/>
                  </a:lnTo>
                  <a:lnTo>
                    <a:pt x="183" y="93"/>
                  </a:lnTo>
                  <a:lnTo>
                    <a:pt x="157" y="59"/>
                  </a:lnTo>
                  <a:lnTo>
                    <a:pt x="170" y="52"/>
                  </a:lnTo>
                  <a:lnTo>
                    <a:pt x="185" y="44"/>
                  </a:lnTo>
                  <a:lnTo>
                    <a:pt x="168" y="13"/>
                  </a:lnTo>
                  <a:lnTo>
                    <a:pt x="103" y="0"/>
                  </a:lnTo>
                  <a:lnTo>
                    <a:pt x="85" y="11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85" y="102"/>
                  </a:lnTo>
                  <a:lnTo>
                    <a:pt x="100" y="130"/>
                  </a:lnTo>
                  <a:lnTo>
                    <a:pt x="100" y="130"/>
                  </a:lnTo>
                  <a:lnTo>
                    <a:pt x="100" y="132"/>
                  </a:lnTo>
                  <a:lnTo>
                    <a:pt x="85" y="178"/>
                  </a:lnTo>
                  <a:lnTo>
                    <a:pt x="92" y="204"/>
                  </a:lnTo>
                  <a:lnTo>
                    <a:pt x="92" y="208"/>
                  </a:lnTo>
                  <a:lnTo>
                    <a:pt x="89" y="208"/>
                  </a:lnTo>
                  <a:lnTo>
                    <a:pt x="61" y="204"/>
                  </a:lnTo>
                  <a:lnTo>
                    <a:pt x="46" y="210"/>
                  </a:lnTo>
                  <a:lnTo>
                    <a:pt x="46" y="210"/>
                  </a:lnTo>
                  <a:lnTo>
                    <a:pt x="44" y="210"/>
                  </a:lnTo>
                  <a:lnTo>
                    <a:pt x="35" y="195"/>
                  </a:lnTo>
                  <a:lnTo>
                    <a:pt x="24" y="206"/>
                  </a:lnTo>
                  <a:lnTo>
                    <a:pt x="39" y="241"/>
                  </a:lnTo>
                  <a:lnTo>
                    <a:pt x="39" y="243"/>
                  </a:lnTo>
                  <a:lnTo>
                    <a:pt x="39" y="243"/>
                  </a:lnTo>
                  <a:lnTo>
                    <a:pt x="20" y="258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0" y="269"/>
                  </a:lnTo>
                  <a:lnTo>
                    <a:pt x="24" y="301"/>
                  </a:lnTo>
                  <a:lnTo>
                    <a:pt x="24" y="30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1" name="Freeform 266">
              <a:extLst>
                <a:ext uri="{FF2B5EF4-FFF2-40B4-BE49-F238E27FC236}">
                  <a16:creationId xmlns:a16="http://schemas.microsoft.com/office/drawing/2014/main" xmlns="" id="{8429B9EC-8136-4F5B-A350-9C9CB18F77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6" y="2751"/>
              <a:ext cx="314" cy="338"/>
            </a:xfrm>
            <a:custGeom>
              <a:avLst/>
              <a:gdLst>
                <a:gd name="T0" fmla="*/ 203 w 314"/>
                <a:gd name="T1" fmla="*/ 338 h 338"/>
                <a:gd name="T2" fmla="*/ 214 w 314"/>
                <a:gd name="T3" fmla="*/ 290 h 338"/>
                <a:gd name="T4" fmla="*/ 216 w 314"/>
                <a:gd name="T5" fmla="*/ 288 h 338"/>
                <a:gd name="T6" fmla="*/ 253 w 314"/>
                <a:gd name="T7" fmla="*/ 262 h 338"/>
                <a:gd name="T8" fmla="*/ 238 w 314"/>
                <a:gd name="T9" fmla="*/ 225 h 338"/>
                <a:gd name="T10" fmla="*/ 251 w 314"/>
                <a:gd name="T11" fmla="*/ 212 h 338"/>
                <a:gd name="T12" fmla="*/ 253 w 314"/>
                <a:gd name="T13" fmla="*/ 212 h 338"/>
                <a:gd name="T14" fmla="*/ 279 w 314"/>
                <a:gd name="T15" fmla="*/ 221 h 338"/>
                <a:gd name="T16" fmla="*/ 279 w 314"/>
                <a:gd name="T17" fmla="*/ 221 h 338"/>
                <a:gd name="T18" fmla="*/ 299 w 314"/>
                <a:gd name="T19" fmla="*/ 199 h 338"/>
                <a:gd name="T20" fmla="*/ 299 w 314"/>
                <a:gd name="T21" fmla="*/ 197 h 338"/>
                <a:gd name="T22" fmla="*/ 299 w 314"/>
                <a:gd name="T23" fmla="*/ 125 h 338"/>
                <a:gd name="T24" fmla="*/ 299 w 314"/>
                <a:gd name="T25" fmla="*/ 123 h 338"/>
                <a:gd name="T26" fmla="*/ 299 w 314"/>
                <a:gd name="T27" fmla="*/ 34 h 338"/>
                <a:gd name="T28" fmla="*/ 275 w 314"/>
                <a:gd name="T29" fmla="*/ 30 h 338"/>
                <a:gd name="T30" fmla="*/ 270 w 314"/>
                <a:gd name="T31" fmla="*/ 0 h 338"/>
                <a:gd name="T32" fmla="*/ 249 w 314"/>
                <a:gd name="T33" fmla="*/ 15 h 338"/>
                <a:gd name="T34" fmla="*/ 246 w 314"/>
                <a:gd name="T35" fmla="*/ 17 h 338"/>
                <a:gd name="T36" fmla="*/ 192 w 314"/>
                <a:gd name="T37" fmla="*/ 28 h 338"/>
                <a:gd name="T38" fmla="*/ 218 w 314"/>
                <a:gd name="T39" fmla="*/ 32 h 338"/>
                <a:gd name="T40" fmla="*/ 220 w 314"/>
                <a:gd name="T41" fmla="*/ 49 h 338"/>
                <a:gd name="T42" fmla="*/ 218 w 314"/>
                <a:gd name="T43" fmla="*/ 52 h 338"/>
                <a:gd name="T44" fmla="*/ 190 w 314"/>
                <a:gd name="T45" fmla="*/ 84 h 338"/>
                <a:gd name="T46" fmla="*/ 144 w 314"/>
                <a:gd name="T47" fmla="*/ 84 h 338"/>
                <a:gd name="T48" fmla="*/ 135 w 314"/>
                <a:gd name="T49" fmla="*/ 101 h 338"/>
                <a:gd name="T50" fmla="*/ 105 w 314"/>
                <a:gd name="T51" fmla="*/ 104 h 338"/>
                <a:gd name="T52" fmla="*/ 103 w 314"/>
                <a:gd name="T53" fmla="*/ 104 h 338"/>
                <a:gd name="T54" fmla="*/ 90 w 314"/>
                <a:gd name="T55" fmla="*/ 82 h 338"/>
                <a:gd name="T56" fmla="*/ 90 w 314"/>
                <a:gd name="T57" fmla="*/ 54 h 338"/>
                <a:gd name="T58" fmla="*/ 66 w 314"/>
                <a:gd name="T59" fmla="*/ 43 h 338"/>
                <a:gd name="T60" fmla="*/ 66 w 314"/>
                <a:gd name="T61" fmla="*/ 15 h 338"/>
                <a:gd name="T62" fmla="*/ 42 w 314"/>
                <a:gd name="T63" fmla="*/ 21 h 338"/>
                <a:gd name="T64" fmla="*/ 37 w 314"/>
                <a:gd name="T65" fmla="*/ 23 h 338"/>
                <a:gd name="T66" fmla="*/ 0 w 314"/>
                <a:gd name="T67" fmla="*/ 30 h 338"/>
                <a:gd name="T68" fmla="*/ 33 w 314"/>
                <a:gd name="T69" fmla="*/ 45 h 338"/>
                <a:gd name="T70" fmla="*/ 35 w 314"/>
                <a:gd name="T71" fmla="*/ 45 h 338"/>
                <a:gd name="T72" fmla="*/ 66 w 314"/>
                <a:gd name="T73" fmla="*/ 67 h 338"/>
                <a:gd name="T74" fmla="*/ 68 w 314"/>
                <a:gd name="T75" fmla="*/ 69 h 338"/>
                <a:gd name="T76" fmla="*/ 98 w 314"/>
                <a:gd name="T77" fmla="*/ 132 h 338"/>
                <a:gd name="T78" fmla="*/ 98 w 314"/>
                <a:gd name="T79" fmla="*/ 132 h 338"/>
                <a:gd name="T80" fmla="*/ 116 w 314"/>
                <a:gd name="T81" fmla="*/ 212 h 338"/>
                <a:gd name="T82" fmla="*/ 116 w 314"/>
                <a:gd name="T83" fmla="*/ 212 h 338"/>
                <a:gd name="T84" fmla="*/ 124 w 314"/>
                <a:gd name="T85" fmla="*/ 244 h 338"/>
                <a:gd name="T86" fmla="*/ 122 w 314"/>
                <a:gd name="T87" fmla="*/ 279 h 338"/>
                <a:gd name="T88" fmla="*/ 159 w 314"/>
                <a:gd name="T89" fmla="*/ 314 h 338"/>
                <a:gd name="T90" fmla="*/ 168 w 314"/>
                <a:gd name="T91" fmla="*/ 33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4" h="338">
                  <a:moveTo>
                    <a:pt x="168" y="335"/>
                  </a:moveTo>
                  <a:lnTo>
                    <a:pt x="203" y="338"/>
                  </a:lnTo>
                  <a:lnTo>
                    <a:pt x="238" y="322"/>
                  </a:lnTo>
                  <a:lnTo>
                    <a:pt x="214" y="290"/>
                  </a:lnTo>
                  <a:lnTo>
                    <a:pt x="214" y="288"/>
                  </a:lnTo>
                  <a:lnTo>
                    <a:pt x="216" y="288"/>
                  </a:lnTo>
                  <a:lnTo>
                    <a:pt x="236" y="277"/>
                  </a:lnTo>
                  <a:lnTo>
                    <a:pt x="253" y="262"/>
                  </a:lnTo>
                  <a:lnTo>
                    <a:pt x="238" y="227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51" y="212"/>
                  </a:lnTo>
                  <a:lnTo>
                    <a:pt x="253" y="210"/>
                  </a:lnTo>
                  <a:lnTo>
                    <a:pt x="253" y="212"/>
                  </a:lnTo>
                  <a:lnTo>
                    <a:pt x="264" y="227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279" y="221"/>
                  </a:lnTo>
                  <a:lnTo>
                    <a:pt x="305" y="225"/>
                  </a:lnTo>
                  <a:lnTo>
                    <a:pt x="299" y="199"/>
                  </a:lnTo>
                  <a:lnTo>
                    <a:pt x="299" y="199"/>
                  </a:lnTo>
                  <a:lnTo>
                    <a:pt x="299" y="197"/>
                  </a:lnTo>
                  <a:lnTo>
                    <a:pt x="314" y="153"/>
                  </a:lnTo>
                  <a:lnTo>
                    <a:pt x="299" y="125"/>
                  </a:lnTo>
                  <a:lnTo>
                    <a:pt x="299" y="125"/>
                  </a:lnTo>
                  <a:lnTo>
                    <a:pt x="299" y="123"/>
                  </a:lnTo>
                  <a:lnTo>
                    <a:pt x="312" y="65"/>
                  </a:lnTo>
                  <a:lnTo>
                    <a:pt x="299" y="34"/>
                  </a:lnTo>
                  <a:lnTo>
                    <a:pt x="277" y="30"/>
                  </a:lnTo>
                  <a:lnTo>
                    <a:pt x="275" y="30"/>
                  </a:lnTo>
                  <a:lnTo>
                    <a:pt x="275" y="28"/>
                  </a:lnTo>
                  <a:lnTo>
                    <a:pt x="270" y="0"/>
                  </a:lnTo>
                  <a:lnTo>
                    <a:pt x="253" y="0"/>
                  </a:lnTo>
                  <a:lnTo>
                    <a:pt x="249" y="15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190" y="10"/>
                  </a:lnTo>
                  <a:lnTo>
                    <a:pt x="192" y="28"/>
                  </a:lnTo>
                  <a:lnTo>
                    <a:pt x="216" y="30"/>
                  </a:lnTo>
                  <a:lnTo>
                    <a:pt x="218" y="32"/>
                  </a:lnTo>
                  <a:lnTo>
                    <a:pt x="218" y="32"/>
                  </a:lnTo>
                  <a:lnTo>
                    <a:pt x="220" y="49"/>
                  </a:lnTo>
                  <a:lnTo>
                    <a:pt x="220" y="52"/>
                  </a:lnTo>
                  <a:lnTo>
                    <a:pt x="218" y="52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90" y="84"/>
                  </a:lnTo>
                  <a:lnTo>
                    <a:pt x="144" y="84"/>
                  </a:lnTo>
                  <a:lnTo>
                    <a:pt x="135" y="99"/>
                  </a:lnTo>
                  <a:lnTo>
                    <a:pt x="135" y="101"/>
                  </a:lnTo>
                  <a:lnTo>
                    <a:pt x="133" y="101"/>
                  </a:lnTo>
                  <a:lnTo>
                    <a:pt x="105" y="104"/>
                  </a:lnTo>
                  <a:lnTo>
                    <a:pt x="103" y="104"/>
                  </a:lnTo>
                  <a:lnTo>
                    <a:pt x="103" y="104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82"/>
                  </a:lnTo>
                  <a:lnTo>
                    <a:pt x="90" y="54"/>
                  </a:lnTo>
                  <a:lnTo>
                    <a:pt x="66" y="45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15"/>
                  </a:lnTo>
                  <a:lnTo>
                    <a:pt x="48" y="8"/>
                  </a:lnTo>
                  <a:lnTo>
                    <a:pt x="42" y="21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13" y="13"/>
                  </a:lnTo>
                  <a:lnTo>
                    <a:pt x="0" y="30"/>
                  </a:lnTo>
                  <a:lnTo>
                    <a:pt x="15" y="47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5" y="45"/>
                  </a:lnTo>
                  <a:lnTo>
                    <a:pt x="44" y="60"/>
                  </a:lnTo>
                  <a:lnTo>
                    <a:pt x="66" y="67"/>
                  </a:lnTo>
                  <a:lnTo>
                    <a:pt x="68" y="67"/>
                  </a:lnTo>
                  <a:lnTo>
                    <a:pt x="68" y="69"/>
                  </a:lnTo>
                  <a:lnTo>
                    <a:pt x="76" y="93"/>
                  </a:lnTo>
                  <a:lnTo>
                    <a:pt x="98" y="132"/>
                  </a:lnTo>
                  <a:lnTo>
                    <a:pt x="100" y="132"/>
                  </a:lnTo>
                  <a:lnTo>
                    <a:pt x="98" y="132"/>
                  </a:lnTo>
                  <a:lnTo>
                    <a:pt x="94" y="169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16" y="212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4" y="244"/>
                  </a:lnTo>
                  <a:lnTo>
                    <a:pt x="122" y="279"/>
                  </a:lnTo>
                  <a:lnTo>
                    <a:pt x="159" y="314"/>
                  </a:lnTo>
                  <a:lnTo>
                    <a:pt x="159" y="314"/>
                  </a:lnTo>
                  <a:lnTo>
                    <a:pt x="159" y="316"/>
                  </a:lnTo>
                  <a:lnTo>
                    <a:pt x="168" y="335"/>
                  </a:lnTo>
                  <a:lnTo>
                    <a:pt x="168" y="33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2" name="Freeform 267">
              <a:extLst>
                <a:ext uri="{FF2B5EF4-FFF2-40B4-BE49-F238E27FC236}">
                  <a16:creationId xmlns:a16="http://schemas.microsoft.com/office/drawing/2014/main" xmlns="" id="{12646761-8264-4F15-928F-399B46951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1" y="3034"/>
              <a:ext cx="229" cy="367"/>
            </a:xfrm>
            <a:custGeom>
              <a:avLst/>
              <a:gdLst>
                <a:gd name="T0" fmla="*/ 13 w 229"/>
                <a:gd name="T1" fmla="*/ 172 h 367"/>
                <a:gd name="T2" fmla="*/ 0 w 229"/>
                <a:gd name="T3" fmla="*/ 182 h 367"/>
                <a:gd name="T4" fmla="*/ 2 w 229"/>
                <a:gd name="T5" fmla="*/ 217 h 367"/>
                <a:gd name="T6" fmla="*/ 35 w 229"/>
                <a:gd name="T7" fmla="*/ 263 h 367"/>
                <a:gd name="T8" fmla="*/ 32 w 229"/>
                <a:gd name="T9" fmla="*/ 310 h 367"/>
                <a:gd name="T10" fmla="*/ 26 w 229"/>
                <a:gd name="T11" fmla="*/ 332 h 367"/>
                <a:gd name="T12" fmla="*/ 54 w 229"/>
                <a:gd name="T13" fmla="*/ 367 h 367"/>
                <a:gd name="T14" fmla="*/ 70 w 229"/>
                <a:gd name="T15" fmla="*/ 362 h 367"/>
                <a:gd name="T16" fmla="*/ 76 w 229"/>
                <a:gd name="T17" fmla="*/ 347 h 367"/>
                <a:gd name="T18" fmla="*/ 94 w 229"/>
                <a:gd name="T19" fmla="*/ 358 h 367"/>
                <a:gd name="T20" fmla="*/ 111 w 229"/>
                <a:gd name="T21" fmla="*/ 362 h 367"/>
                <a:gd name="T22" fmla="*/ 133 w 229"/>
                <a:gd name="T23" fmla="*/ 349 h 367"/>
                <a:gd name="T24" fmla="*/ 133 w 229"/>
                <a:gd name="T25" fmla="*/ 289 h 367"/>
                <a:gd name="T26" fmla="*/ 148 w 229"/>
                <a:gd name="T27" fmla="*/ 204 h 367"/>
                <a:gd name="T28" fmla="*/ 202 w 229"/>
                <a:gd name="T29" fmla="*/ 152 h 367"/>
                <a:gd name="T30" fmla="*/ 207 w 229"/>
                <a:gd name="T31" fmla="*/ 98 h 367"/>
                <a:gd name="T32" fmla="*/ 202 w 229"/>
                <a:gd name="T33" fmla="*/ 74 h 367"/>
                <a:gd name="T34" fmla="*/ 229 w 229"/>
                <a:gd name="T35" fmla="*/ 55 h 367"/>
                <a:gd name="T36" fmla="*/ 220 w 229"/>
                <a:gd name="T37" fmla="*/ 35 h 367"/>
                <a:gd name="T38" fmla="*/ 185 w 229"/>
                <a:gd name="T39" fmla="*/ 0 h 367"/>
                <a:gd name="T40" fmla="*/ 172 w 229"/>
                <a:gd name="T41" fmla="*/ 9 h 367"/>
                <a:gd name="T42" fmla="*/ 172 w 229"/>
                <a:gd name="T43" fmla="*/ 9 h 367"/>
                <a:gd name="T44" fmla="*/ 172 w 229"/>
                <a:gd name="T45" fmla="*/ 9 h 367"/>
                <a:gd name="T46" fmla="*/ 135 w 229"/>
                <a:gd name="T47" fmla="*/ 9 h 367"/>
                <a:gd name="T48" fmla="*/ 115 w 229"/>
                <a:gd name="T49" fmla="*/ 24 h 367"/>
                <a:gd name="T50" fmla="*/ 122 w 229"/>
                <a:gd name="T51" fmla="*/ 37 h 367"/>
                <a:gd name="T52" fmla="*/ 122 w 229"/>
                <a:gd name="T53" fmla="*/ 39 h 367"/>
                <a:gd name="T54" fmla="*/ 120 w 229"/>
                <a:gd name="T55" fmla="*/ 42 h 367"/>
                <a:gd name="T56" fmla="*/ 102 w 229"/>
                <a:gd name="T57" fmla="*/ 52 h 367"/>
                <a:gd name="T58" fmla="*/ 126 w 229"/>
                <a:gd name="T59" fmla="*/ 85 h 367"/>
                <a:gd name="T60" fmla="*/ 150 w 229"/>
                <a:gd name="T61" fmla="*/ 89 h 367"/>
                <a:gd name="T62" fmla="*/ 152 w 229"/>
                <a:gd name="T63" fmla="*/ 89 h 367"/>
                <a:gd name="T64" fmla="*/ 152 w 229"/>
                <a:gd name="T65" fmla="*/ 91 h 367"/>
                <a:gd name="T66" fmla="*/ 159 w 229"/>
                <a:gd name="T67" fmla="*/ 120 h 367"/>
                <a:gd name="T68" fmla="*/ 161 w 229"/>
                <a:gd name="T69" fmla="*/ 122 h 367"/>
                <a:gd name="T70" fmla="*/ 159 w 229"/>
                <a:gd name="T71" fmla="*/ 124 h 367"/>
                <a:gd name="T72" fmla="*/ 139 w 229"/>
                <a:gd name="T73" fmla="*/ 130 h 367"/>
                <a:gd name="T74" fmla="*/ 139 w 229"/>
                <a:gd name="T75" fmla="*/ 130 h 367"/>
                <a:gd name="T76" fmla="*/ 139 w 229"/>
                <a:gd name="T77" fmla="*/ 130 h 367"/>
                <a:gd name="T78" fmla="*/ 120 w 229"/>
                <a:gd name="T79" fmla="*/ 130 h 367"/>
                <a:gd name="T80" fmla="*/ 94 w 229"/>
                <a:gd name="T81" fmla="*/ 176 h 367"/>
                <a:gd name="T82" fmla="*/ 94 w 229"/>
                <a:gd name="T83" fmla="*/ 180 h 367"/>
                <a:gd name="T84" fmla="*/ 91 w 229"/>
                <a:gd name="T85" fmla="*/ 178 h 367"/>
                <a:gd name="T86" fmla="*/ 72 w 229"/>
                <a:gd name="T87" fmla="*/ 161 h 367"/>
                <a:gd name="T88" fmla="*/ 61 w 229"/>
                <a:gd name="T89" fmla="*/ 174 h 367"/>
                <a:gd name="T90" fmla="*/ 61 w 229"/>
                <a:gd name="T91" fmla="*/ 176 h 367"/>
                <a:gd name="T92" fmla="*/ 59 w 229"/>
                <a:gd name="T93" fmla="*/ 176 h 367"/>
                <a:gd name="T94" fmla="*/ 13 w 229"/>
                <a:gd name="T95" fmla="*/ 172 h 367"/>
                <a:gd name="T96" fmla="*/ 13 w 229"/>
                <a:gd name="T97" fmla="*/ 172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9" h="367">
                  <a:moveTo>
                    <a:pt x="13" y="172"/>
                  </a:moveTo>
                  <a:lnTo>
                    <a:pt x="0" y="182"/>
                  </a:lnTo>
                  <a:lnTo>
                    <a:pt x="2" y="217"/>
                  </a:lnTo>
                  <a:lnTo>
                    <a:pt x="35" y="263"/>
                  </a:lnTo>
                  <a:lnTo>
                    <a:pt x="32" y="310"/>
                  </a:lnTo>
                  <a:lnTo>
                    <a:pt x="26" y="332"/>
                  </a:lnTo>
                  <a:lnTo>
                    <a:pt x="54" y="367"/>
                  </a:lnTo>
                  <a:lnTo>
                    <a:pt x="70" y="362"/>
                  </a:lnTo>
                  <a:lnTo>
                    <a:pt x="76" y="347"/>
                  </a:lnTo>
                  <a:lnTo>
                    <a:pt x="94" y="358"/>
                  </a:lnTo>
                  <a:lnTo>
                    <a:pt x="111" y="362"/>
                  </a:lnTo>
                  <a:lnTo>
                    <a:pt x="133" y="349"/>
                  </a:lnTo>
                  <a:lnTo>
                    <a:pt x="133" y="289"/>
                  </a:lnTo>
                  <a:lnTo>
                    <a:pt x="148" y="204"/>
                  </a:lnTo>
                  <a:lnTo>
                    <a:pt x="202" y="152"/>
                  </a:lnTo>
                  <a:lnTo>
                    <a:pt x="207" y="98"/>
                  </a:lnTo>
                  <a:lnTo>
                    <a:pt x="202" y="74"/>
                  </a:lnTo>
                  <a:lnTo>
                    <a:pt x="229" y="55"/>
                  </a:lnTo>
                  <a:lnTo>
                    <a:pt x="220" y="35"/>
                  </a:lnTo>
                  <a:lnTo>
                    <a:pt x="185" y="0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35" y="9"/>
                  </a:lnTo>
                  <a:lnTo>
                    <a:pt x="115" y="24"/>
                  </a:lnTo>
                  <a:lnTo>
                    <a:pt x="122" y="37"/>
                  </a:lnTo>
                  <a:lnTo>
                    <a:pt x="122" y="39"/>
                  </a:lnTo>
                  <a:lnTo>
                    <a:pt x="120" y="42"/>
                  </a:lnTo>
                  <a:lnTo>
                    <a:pt x="102" y="52"/>
                  </a:lnTo>
                  <a:lnTo>
                    <a:pt x="126" y="85"/>
                  </a:lnTo>
                  <a:lnTo>
                    <a:pt x="150" y="89"/>
                  </a:lnTo>
                  <a:lnTo>
                    <a:pt x="152" y="89"/>
                  </a:lnTo>
                  <a:lnTo>
                    <a:pt x="152" y="91"/>
                  </a:lnTo>
                  <a:lnTo>
                    <a:pt x="159" y="120"/>
                  </a:lnTo>
                  <a:lnTo>
                    <a:pt x="161" y="122"/>
                  </a:lnTo>
                  <a:lnTo>
                    <a:pt x="159" y="124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39" y="130"/>
                  </a:lnTo>
                  <a:lnTo>
                    <a:pt x="120" y="130"/>
                  </a:lnTo>
                  <a:lnTo>
                    <a:pt x="94" y="176"/>
                  </a:lnTo>
                  <a:lnTo>
                    <a:pt x="94" y="180"/>
                  </a:lnTo>
                  <a:lnTo>
                    <a:pt x="91" y="178"/>
                  </a:lnTo>
                  <a:lnTo>
                    <a:pt x="72" y="161"/>
                  </a:lnTo>
                  <a:lnTo>
                    <a:pt x="61" y="174"/>
                  </a:lnTo>
                  <a:lnTo>
                    <a:pt x="61" y="176"/>
                  </a:lnTo>
                  <a:lnTo>
                    <a:pt x="59" y="176"/>
                  </a:lnTo>
                  <a:lnTo>
                    <a:pt x="13" y="172"/>
                  </a:lnTo>
                  <a:lnTo>
                    <a:pt x="13" y="1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3" name="Freeform 268">
              <a:extLst>
                <a:ext uri="{FF2B5EF4-FFF2-40B4-BE49-F238E27FC236}">
                  <a16:creationId xmlns:a16="http://schemas.microsoft.com/office/drawing/2014/main" xmlns="" id="{CBE8206F-0D9C-44C4-A809-5F50B956A02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" y="3073"/>
              <a:ext cx="153" cy="133"/>
            </a:xfrm>
            <a:custGeom>
              <a:avLst/>
              <a:gdLst>
                <a:gd name="T0" fmla="*/ 0 w 153"/>
                <a:gd name="T1" fmla="*/ 89 h 133"/>
                <a:gd name="T2" fmla="*/ 9 w 153"/>
                <a:gd name="T3" fmla="*/ 111 h 133"/>
                <a:gd name="T4" fmla="*/ 13 w 153"/>
                <a:gd name="T5" fmla="*/ 128 h 133"/>
                <a:gd name="T6" fmla="*/ 57 w 153"/>
                <a:gd name="T7" fmla="*/ 133 h 133"/>
                <a:gd name="T8" fmla="*/ 68 w 153"/>
                <a:gd name="T9" fmla="*/ 117 h 133"/>
                <a:gd name="T10" fmla="*/ 70 w 153"/>
                <a:gd name="T11" fmla="*/ 117 h 133"/>
                <a:gd name="T12" fmla="*/ 72 w 153"/>
                <a:gd name="T13" fmla="*/ 117 h 133"/>
                <a:gd name="T14" fmla="*/ 89 w 153"/>
                <a:gd name="T15" fmla="*/ 133 h 133"/>
                <a:gd name="T16" fmla="*/ 113 w 153"/>
                <a:gd name="T17" fmla="*/ 87 h 133"/>
                <a:gd name="T18" fmla="*/ 115 w 153"/>
                <a:gd name="T19" fmla="*/ 85 h 133"/>
                <a:gd name="T20" fmla="*/ 115 w 153"/>
                <a:gd name="T21" fmla="*/ 87 h 133"/>
                <a:gd name="T22" fmla="*/ 137 w 153"/>
                <a:gd name="T23" fmla="*/ 87 h 133"/>
                <a:gd name="T24" fmla="*/ 153 w 153"/>
                <a:gd name="T25" fmla="*/ 81 h 133"/>
                <a:gd name="T26" fmla="*/ 146 w 153"/>
                <a:gd name="T27" fmla="*/ 55 h 133"/>
                <a:gd name="T28" fmla="*/ 122 w 153"/>
                <a:gd name="T29" fmla="*/ 50 h 133"/>
                <a:gd name="T30" fmla="*/ 122 w 153"/>
                <a:gd name="T31" fmla="*/ 50 h 133"/>
                <a:gd name="T32" fmla="*/ 120 w 153"/>
                <a:gd name="T33" fmla="*/ 48 h 133"/>
                <a:gd name="T34" fmla="*/ 87 w 153"/>
                <a:gd name="T35" fmla="*/ 3 h 133"/>
                <a:gd name="T36" fmla="*/ 63 w 153"/>
                <a:gd name="T37" fmla="*/ 0 h 133"/>
                <a:gd name="T38" fmla="*/ 50 w 153"/>
                <a:gd name="T39" fmla="*/ 7 h 133"/>
                <a:gd name="T40" fmla="*/ 65 w 153"/>
                <a:gd name="T41" fmla="*/ 57 h 133"/>
                <a:gd name="T42" fmla="*/ 65 w 153"/>
                <a:gd name="T43" fmla="*/ 59 h 133"/>
                <a:gd name="T44" fmla="*/ 63 w 153"/>
                <a:gd name="T45" fmla="*/ 61 h 133"/>
                <a:gd name="T46" fmla="*/ 0 w 153"/>
                <a:gd name="T47" fmla="*/ 89 h 133"/>
                <a:gd name="T48" fmla="*/ 0 w 153"/>
                <a:gd name="T49" fmla="*/ 89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53" h="133">
                  <a:moveTo>
                    <a:pt x="0" y="89"/>
                  </a:moveTo>
                  <a:lnTo>
                    <a:pt x="9" y="111"/>
                  </a:lnTo>
                  <a:lnTo>
                    <a:pt x="13" y="128"/>
                  </a:lnTo>
                  <a:lnTo>
                    <a:pt x="57" y="133"/>
                  </a:lnTo>
                  <a:lnTo>
                    <a:pt x="68" y="117"/>
                  </a:lnTo>
                  <a:lnTo>
                    <a:pt x="70" y="117"/>
                  </a:lnTo>
                  <a:lnTo>
                    <a:pt x="72" y="117"/>
                  </a:lnTo>
                  <a:lnTo>
                    <a:pt x="89" y="133"/>
                  </a:lnTo>
                  <a:lnTo>
                    <a:pt x="113" y="87"/>
                  </a:lnTo>
                  <a:lnTo>
                    <a:pt x="115" y="85"/>
                  </a:lnTo>
                  <a:lnTo>
                    <a:pt x="115" y="87"/>
                  </a:lnTo>
                  <a:lnTo>
                    <a:pt x="137" y="87"/>
                  </a:lnTo>
                  <a:lnTo>
                    <a:pt x="153" y="81"/>
                  </a:lnTo>
                  <a:lnTo>
                    <a:pt x="146" y="55"/>
                  </a:lnTo>
                  <a:lnTo>
                    <a:pt x="122" y="50"/>
                  </a:lnTo>
                  <a:lnTo>
                    <a:pt x="122" y="50"/>
                  </a:lnTo>
                  <a:lnTo>
                    <a:pt x="120" y="48"/>
                  </a:lnTo>
                  <a:lnTo>
                    <a:pt x="87" y="3"/>
                  </a:lnTo>
                  <a:lnTo>
                    <a:pt x="63" y="0"/>
                  </a:lnTo>
                  <a:lnTo>
                    <a:pt x="50" y="7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3" y="61"/>
                  </a:lnTo>
                  <a:lnTo>
                    <a:pt x="0" y="89"/>
                  </a:lnTo>
                  <a:lnTo>
                    <a:pt x="0" y="8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4" name="Freeform 269">
              <a:extLst>
                <a:ext uri="{FF2B5EF4-FFF2-40B4-BE49-F238E27FC236}">
                  <a16:creationId xmlns:a16="http://schemas.microsoft.com/office/drawing/2014/main" xmlns="" id="{58E4CB54-10E1-4F67-8585-4D12A24D0048}"/>
                </a:ext>
              </a:extLst>
            </p:cNvPr>
            <p:cNvSpPr>
              <a:spLocks/>
            </p:cNvSpPr>
            <p:nvPr/>
          </p:nvSpPr>
          <p:spPr bwMode="auto">
            <a:xfrm>
              <a:off x="738" y="3080"/>
              <a:ext cx="74" cy="78"/>
            </a:xfrm>
            <a:custGeom>
              <a:avLst/>
              <a:gdLst>
                <a:gd name="T0" fmla="*/ 0 w 74"/>
                <a:gd name="T1" fmla="*/ 61 h 78"/>
                <a:gd name="T2" fmla="*/ 2 w 74"/>
                <a:gd name="T3" fmla="*/ 69 h 78"/>
                <a:gd name="T4" fmla="*/ 13 w 74"/>
                <a:gd name="T5" fmla="*/ 78 h 78"/>
                <a:gd name="T6" fmla="*/ 74 w 74"/>
                <a:gd name="T7" fmla="*/ 50 h 78"/>
                <a:gd name="T8" fmla="*/ 61 w 74"/>
                <a:gd name="T9" fmla="*/ 0 h 78"/>
                <a:gd name="T10" fmla="*/ 50 w 74"/>
                <a:gd name="T11" fmla="*/ 6 h 78"/>
                <a:gd name="T12" fmla="*/ 39 w 74"/>
                <a:gd name="T13" fmla="*/ 39 h 78"/>
                <a:gd name="T14" fmla="*/ 39 w 74"/>
                <a:gd name="T15" fmla="*/ 41 h 78"/>
                <a:gd name="T16" fmla="*/ 39 w 74"/>
                <a:gd name="T17" fmla="*/ 41 h 78"/>
                <a:gd name="T18" fmla="*/ 24 w 74"/>
                <a:gd name="T19" fmla="*/ 52 h 78"/>
                <a:gd name="T20" fmla="*/ 24 w 74"/>
                <a:gd name="T21" fmla="*/ 54 h 78"/>
                <a:gd name="T22" fmla="*/ 22 w 74"/>
                <a:gd name="T23" fmla="*/ 54 h 78"/>
                <a:gd name="T24" fmla="*/ 0 w 74"/>
                <a:gd name="T25" fmla="*/ 61 h 78"/>
                <a:gd name="T26" fmla="*/ 0 w 74"/>
                <a:gd name="T27" fmla="*/ 61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4" h="78">
                  <a:moveTo>
                    <a:pt x="0" y="61"/>
                  </a:moveTo>
                  <a:lnTo>
                    <a:pt x="2" y="69"/>
                  </a:lnTo>
                  <a:lnTo>
                    <a:pt x="13" y="78"/>
                  </a:lnTo>
                  <a:lnTo>
                    <a:pt x="74" y="50"/>
                  </a:lnTo>
                  <a:lnTo>
                    <a:pt x="61" y="0"/>
                  </a:lnTo>
                  <a:lnTo>
                    <a:pt x="50" y="6"/>
                  </a:lnTo>
                  <a:lnTo>
                    <a:pt x="39" y="39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24" y="52"/>
                  </a:lnTo>
                  <a:lnTo>
                    <a:pt x="24" y="54"/>
                  </a:lnTo>
                  <a:lnTo>
                    <a:pt x="22" y="54"/>
                  </a:lnTo>
                  <a:lnTo>
                    <a:pt x="0" y="61"/>
                  </a:lnTo>
                  <a:lnTo>
                    <a:pt x="0" y="6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5" name="Freeform 270">
              <a:extLst>
                <a:ext uri="{FF2B5EF4-FFF2-40B4-BE49-F238E27FC236}">
                  <a16:creationId xmlns:a16="http://schemas.microsoft.com/office/drawing/2014/main" xmlns="" id="{10A58289-96EE-406C-901F-127193CD01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" y="3056"/>
              <a:ext cx="122" cy="80"/>
            </a:xfrm>
            <a:custGeom>
              <a:avLst/>
              <a:gdLst>
                <a:gd name="T0" fmla="*/ 0 w 122"/>
                <a:gd name="T1" fmla="*/ 13 h 80"/>
                <a:gd name="T2" fmla="*/ 2 w 122"/>
                <a:gd name="T3" fmla="*/ 52 h 80"/>
                <a:gd name="T4" fmla="*/ 48 w 122"/>
                <a:gd name="T5" fmla="*/ 74 h 80"/>
                <a:gd name="T6" fmla="*/ 48 w 122"/>
                <a:gd name="T7" fmla="*/ 80 h 80"/>
                <a:gd name="T8" fmla="*/ 70 w 122"/>
                <a:gd name="T9" fmla="*/ 74 h 80"/>
                <a:gd name="T10" fmla="*/ 85 w 122"/>
                <a:gd name="T11" fmla="*/ 61 h 80"/>
                <a:gd name="T12" fmla="*/ 96 w 122"/>
                <a:gd name="T13" fmla="*/ 28 h 80"/>
                <a:gd name="T14" fmla="*/ 96 w 122"/>
                <a:gd name="T15" fmla="*/ 26 h 80"/>
                <a:gd name="T16" fmla="*/ 96 w 122"/>
                <a:gd name="T17" fmla="*/ 26 h 80"/>
                <a:gd name="T18" fmla="*/ 122 w 122"/>
                <a:gd name="T19" fmla="*/ 15 h 80"/>
                <a:gd name="T20" fmla="*/ 102 w 122"/>
                <a:gd name="T21" fmla="*/ 0 h 80"/>
                <a:gd name="T22" fmla="*/ 93 w 122"/>
                <a:gd name="T23" fmla="*/ 11 h 80"/>
                <a:gd name="T24" fmla="*/ 93 w 122"/>
                <a:gd name="T25" fmla="*/ 13 h 80"/>
                <a:gd name="T26" fmla="*/ 91 w 122"/>
                <a:gd name="T27" fmla="*/ 13 h 80"/>
                <a:gd name="T28" fmla="*/ 39 w 122"/>
                <a:gd name="T29" fmla="*/ 0 h 80"/>
                <a:gd name="T30" fmla="*/ 2 w 122"/>
                <a:gd name="T31" fmla="*/ 13 h 80"/>
                <a:gd name="T32" fmla="*/ 0 w 122"/>
                <a:gd name="T33" fmla="*/ 13 h 80"/>
                <a:gd name="T34" fmla="*/ 0 w 122"/>
                <a:gd name="T35" fmla="*/ 1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2" h="80">
                  <a:moveTo>
                    <a:pt x="0" y="13"/>
                  </a:moveTo>
                  <a:lnTo>
                    <a:pt x="2" y="52"/>
                  </a:lnTo>
                  <a:lnTo>
                    <a:pt x="48" y="74"/>
                  </a:lnTo>
                  <a:lnTo>
                    <a:pt x="48" y="80"/>
                  </a:lnTo>
                  <a:lnTo>
                    <a:pt x="70" y="74"/>
                  </a:lnTo>
                  <a:lnTo>
                    <a:pt x="85" y="61"/>
                  </a:lnTo>
                  <a:lnTo>
                    <a:pt x="96" y="28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122" y="15"/>
                  </a:lnTo>
                  <a:lnTo>
                    <a:pt x="102" y="0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1" y="13"/>
                  </a:lnTo>
                  <a:lnTo>
                    <a:pt x="39" y="0"/>
                  </a:lnTo>
                  <a:lnTo>
                    <a:pt x="2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6" name="Freeform 271">
              <a:extLst>
                <a:ext uri="{FF2B5EF4-FFF2-40B4-BE49-F238E27FC236}">
                  <a16:creationId xmlns:a16="http://schemas.microsoft.com/office/drawing/2014/main" xmlns="" id="{61A03534-EF7A-4527-A19C-3283D96CF6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" y="2969"/>
              <a:ext cx="140" cy="96"/>
            </a:xfrm>
            <a:custGeom>
              <a:avLst/>
              <a:gdLst>
                <a:gd name="T0" fmla="*/ 0 w 140"/>
                <a:gd name="T1" fmla="*/ 22 h 96"/>
                <a:gd name="T2" fmla="*/ 24 w 140"/>
                <a:gd name="T3" fmla="*/ 48 h 96"/>
                <a:gd name="T4" fmla="*/ 24 w 140"/>
                <a:gd name="T5" fmla="*/ 85 h 96"/>
                <a:gd name="T6" fmla="*/ 33 w 140"/>
                <a:gd name="T7" fmla="*/ 96 h 96"/>
                <a:gd name="T8" fmla="*/ 33 w 140"/>
                <a:gd name="T9" fmla="*/ 96 h 96"/>
                <a:gd name="T10" fmla="*/ 33 w 140"/>
                <a:gd name="T11" fmla="*/ 96 h 96"/>
                <a:gd name="T12" fmla="*/ 72 w 140"/>
                <a:gd name="T13" fmla="*/ 83 h 96"/>
                <a:gd name="T14" fmla="*/ 72 w 140"/>
                <a:gd name="T15" fmla="*/ 83 h 96"/>
                <a:gd name="T16" fmla="*/ 74 w 140"/>
                <a:gd name="T17" fmla="*/ 83 h 96"/>
                <a:gd name="T18" fmla="*/ 124 w 140"/>
                <a:gd name="T19" fmla="*/ 96 h 96"/>
                <a:gd name="T20" fmla="*/ 140 w 140"/>
                <a:gd name="T21" fmla="*/ 68 h 96"/>
                <a:gd name="T22" fmla="*/ 133 w 140"/>
                <a:gd name="T23" fmla="*/ 46 h 96"/>
                <a:gd name="T24" fmla="*/ 109 w 140"/>
                <a:gd name="T25" fmla="*/ 46 h 96"/>
                <a:gd name="T26" fmla="*/ 109 w 140"/>
                <a:gd name="T27" fmla="*/ 46 h 96"/>
                <a:gd name="T28" fmla="*/ 107 w 140"/>
                <a:gd name="T29" fmla="*/ 44 h 96"/>
                <a:gd name="T30" fmla="*/ 61 w 140"/>
                <a:gd name="T31" fmla="*/ 3 h 96"/>
                <a:gd name="T32" fmla="*/ 28 w 140"/>
                <a:gd name="T33" fmla="*/ 0 h 96"/>
                <a:gd name="T34" fmla="*/ 0 w 140"/>
                <a:gd name="T35" fmla="*/ 22 h 96"/>
                <a:gd name="T36" fmla="*/ 0 w 140"/>
                <a:gd name="T37" fmla="*/ 2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0" h="96">
                  <a:moveTo>
                    <a:pt x="0" y="22"/>
                  </a:moveTo>
                  <a:lnTo>
                    <a:pt x="24" y="48"/>
                  </a:lnTo>
                  <a:lnTo>
                    <a:pt x="24" y="8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72" y="83"/>
                  </a:lnTo>
                  <a:lnTo>
                    <a:pt x="72" y="83"/>
                  </a:lnTo>
                  <a:lnTo>
                    <a:pt x="74" y="83"/>
                  </a:lnTo>
                  <a:lnTo>
                    <a:pt x="124" y="96"/>
                  </a:lnTo>
                  <a:lnTo>
                    <a:pt x="140" y="68"/>
                  </a:lnTo>
                  <a:lnTo>
                    <a:pt x="133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61" y="3"/>
                  </a:lnTo>
                  <a:lnTo>
                    <a:pt x="28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7" name="Freeform 272">
              <a:extLst>
                <a:ext uri="{FF2B5EF4-FFF2-40B4-BE49-F238E27FC236}">
                  <a16:creationId xmlns:a16="http://schemas.microsoft.com/office/drawing/2014/main" xmlns="" id="{B955686E-AB38-4A86-86B4-2235FEF5D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" y="2865"/>
              <a:ext cx="135" cy="124"/>
            </a:xfrm>
            <a:custGeom>
              <a:avLst/>
              <a:gdLst>
                <a:gd name="T0" fmla="*/ 0 w 135"/>
                <a:gd name="T1" fmla="*/ 18 h 124"/>
                <a:gd name="T2" fmla="*/ 29 w 135"/>
                <a:gd name="T3" fmla="*/ 65 h 124"/>
                <a:gd name="T4" fmla="*/ 29 w 135"/>
                <a:gd name="T5" fmla="*/ 94 h 124"/>
                <a:gd name="T6" fmla="*/ 57 w 135"/>
                <a:gd name="T7" fmla="*/ 124 h 124"/>
                <a:gd name="T8" fmla="*/ 85 w 135"/>
                <a:gd name="T9" fmla="*/ 102 h 124"/>
                <a:gd name="T10" fmla="*/ 85 w 135"/>
                <a:gd name="T11" fmla="*/ 100 h 124"/>
                <a:gd name="T12" fmla="*/ 85 w 135"/>
                <a:gd name="T13" fmla="*/ 100 h 124"/>
                <a:gd name="T14" fmla="*/ 118 w 135"/>
                <a:gd name="T15" fmla="*/ 102 h 124"/>
                <a:gd name="T16" fmla="*/ 118 w 135"/>
                <a:gd name="T17" fmla="*/ 68 h 124"/>
                <a:gd name="T18" fmla="*/ 118 w 135"/>
                <a:gd name="T19" fmla="*/ 68 h 124"/>
                <a:gd name="T20" fmla="*/ 118 w 135"/>
                <a:gd name="T21" fmla="*/ 68 h 124"/>
                <a:gd name="T22" fmla="*/ 135 w 135"/>
                <a:gd name="T23" fmla="*/ 55 h 124"/>
                <a:gd name="T24" fmla="*/ 111 w 135"/>
                <a:gd name="T25" fmla="*/ 9 h 124"/>
                <a:gd name="T26" fmla="*/ 103 w 135"/>
                <a:gd name="T27" fmla="*/ 24 h 124"/>
                <a:gd name="T28" fmla="*/ 101 w 135"/>
                <a:gd name="T29" fmla="*/ 26 h 124"/>
                <a:gd name="T30" fmla="*/ 101 w 135"/>
                <a:gd name="T31" fmla="*/ 26 h 124"/>
                <a:gd name="T32" fmla="*/ 70 w 135"/>
                <a:gd name="T33" fmla="*/ 24 h 124"/>
                <a:gd name="T34" fmla="*/ 70 w 135"/>
                <a:gd name="T35" fmla="*/ 24 h 124"/>
                <a:gd name="T36" fmla="*/ 68 w 135"/>
                <a:gd name="T37" fmla="*/ 22 h 124"/>
                <a:gd name="T38" fmla="*/ 53 w 135"/>
                <a:gd name="T39" fmla="*/ 0 h 124"/>
                <a:gd name="T40" fmla="*/ 0 w 135"/>
                <a:gd name="T41" fmla="*/ 18 h 124"/>
                <a:gd name="T42" fmla="*/ 0 w 135"/>
                <a:gd name="T43" fmla="*/ 1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5" h="124">
                  <a:moveTo>
                    <a:pt x="0" y="18"/>
                  </a:moveTo>
                  <a:lnTo>
                    <a:pt x="29" y="65"/>
                  </a:lnTo>
                  <a:lnTo>
                    <a:pt x="29" y="94"/>
                  </a:lnTo>
                  <a:lnTo>
                    <a:pt x="57" y="124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118" y="102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18" y="68"/>
                  </a:lnTo>
                  <a:lnTo>
                    <a:pt x="135" y="55"/>
                  </a:lnTo>
                  <a:lnTo>
                    <a:pt x="111" y="9"/>
                  </a:lnTo>
                  <a:lnTo>
                    <a:pt x="103" y="24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8" y="22"/>
                  </a:lnTo>
                  <a:lnTo>
                    <a:pt x="53" y="0"/>
                  </a:lnTo>
                  <a:lnTo>
                    <a:pt x="0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8" name="Freeform 273">
              <a:extLst>
                <a:ext uri="{FF2B5EF4-FFF2-40B4-BE49-F238E27FC236}">
                  <a16:creationId xmlns:a16="http://schemas.microsoft.com/office/drawing/2014/main" xmlns="" id="{47F50786-B68E-4BB0-9449-665B4BCBF4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5" y="2551"/>
              <a:ext cx="266" cy="336"/>
            </a:xfrm>
            <a:custGeom>
              <a:avLst/>
              <a:gdLst>
                <a:gd name="T0" fmla="*/ 0 w 266"/>
                <a:gd name="T1" fmla="*/ 89 h 336"/>
                <a:gd name="T2" fmla="*/ 24 w 266"/>
                <a:gd name="T3" fmla="*/ 148 h 336"/>
                <a:gd name="T4" fmla="*/ 22 w 266"/>
                <a:gd name="T5" fmla="*/ 304 h 336"/>
                <a:gd name="T6" fmla="*/ 61 w 266"/>
                <a:gd name="T7" fmla="*/ 327 h 336"/>
                <a:gd name="T8" fmla="*/ 118 w 266"/>
                <a:gd name="T9" fmla="*/ 310 h 336"/>
                <a:gd name="T10" fmla="*/ 181 w 266"/>
                <a:gd name="T11" fmla="*/ 297 h 336"/>
                <a:gd name="T12" fmla="*/ 205 w 266"/>
                <a:gd name="T13" fmla="*/ 286 h 336"/>
                <a:gd name="T14" fmla="*/ 196 w 266"/>
                <a:gd name="T15" fmla="*/ 273 h 336"/>
                <a:gd name="T16" fmla="*/ 194 w 266"/>
                <a:gd name="T17" fmla="*/ 239 h 336"/>
                <a:gd name="T18" fmla="*/ 211 w 266"/>
                <a:gd name="T19" fmla="*/ 208 h 336"/>
                <a:gd name="T20" fmla="*/ 231 w 266"/>
                <a:gd name="T21" fmla="*/ 197 h 336"/>
                <a:gd name="T22" fmla="*/ 244 w 266"/>
                <a:gd name="T23" fmla="*/ 219 h 336"/>
                <a:gd name="T24" fmla="*/ 262 w 266"/>
                <a:gd name="T25" fmla="*/ 180 h 336"/>
                <a:gd name="T26" fmla="*/ 240 w 266"/>
                <a:gd name="T27" fmla="*/ 137 h 336"/>
                <a:gd name="T28" fmla="*/ 259 w 266"/>
                <a:gd name="T29" fmla="*/ 96 h 336"/>
                <a:gd name="T30" fmla="*/ 211 w 266"/>
                <a:gd name="T31" fmla="*/ 65 h 336"/>
                <a:gd name="T32" fmla="*/ 155 w 266"/>
                <a:gd name="T33" fmla="*/ 0 h 336"/>
                <a:gd name="T34" fmla="*/ 83 w 266"/>
                <a:gd name="T35" fmla="*/ 46 h 336"/>
                <a:gd name="T36" fmla="*/ 11 w 266"/>
                <a:gd name="T37" fmla="*/ 35 h 336"/>
                <a:gd name="T38" fmla="*/ 52 w 266"/>
                <a:gd name="T39" fmla="*/ 256 h 336"/>
                <a:gd name="T40" fmla="*/ 52 w 266"/>
                <a:gd name="T41" fmla="*/ 254 h 336"/>
                <a:gd name="T42" fmla="*/ 83 w 266"/>
                <a:gd name="T43" fmla="*/ 249 h 336"/>
                <a:gd name="T44" fmla="*/ 83 w 266"/>
                <a:gd name="T45" fmla="*/ 232 h 336"/>
                <a:gd name="T46" fmla="*/ 85 w 266"/>
                <a:gd name="T47" fmla="*/ 230 h 336"/>
                <a:gd name="T48" fmla="*/ 96 w 266"/>
                <a:gd name="T49" fmla="*/ 195 h 336"/>
                <a:gd name="T50" fmla="*/ 96 w 266"/>
                <a:gd name="T51" fmla="*/ 193 h 336"/>
                <a:gd name="T52" fmla="*/ 96 w 266"/>
                <a:gd name="T53" fmla="*/ 193 h 336"/>
                <a:gd name="T54" fmla="*/ 70 w 266"/>
                <a:gd name="T55" fmla="*/ 163 h 336"/>
                <a:gd name="T56" fmla="*/ 70 w 266"/>
                <a:gd name="T57" fmla="*/ 161 h 336"/>
                <a:gd name="T58" fmla="*/ 72 w 266"/>
                <a:gd name="T59" fmla="*/ 135 h 336"/>
                <a:gd name="T60" fmla="*/ 79 w 266"/>
                <a:gd name="T61" fmla="*/ 132 h 336"/>
                <a:gd name="T62" fmla="*/ 100 w 266"/>
                <a:gd name="T63" fmla="*/ 141 h 336"/>
                <a:gd name="T64" fmla="*/ 102 w 266"/>
                <a:gd name="T65" fmla="*/ 143 h 336"/>
                <a:gd name="T66" fmla="*/ 144 w 266"/>
                <a:gd name="T67" fmla="*/ 171 h 336"/>
                <a:gd name="T68" fmla="*/ 148 w 266"/>
                <a:gd name="T69" fmla="*/ 171 h 336"/>
                <a:gd name="T70" fmla="*/ 150 w 266"/>
                <a:gd name="T71" fmla="*/ 200 h 336"/>
                <a:gd name="T72" fmla="*/ 170 w 266"/>
                <a:gd name="T73" fmla="*/ 215 h 336"/>
                <a:gd name="T74" fmla="*/ 168 w 266"/>
                <a:gd name="T75" fmla="*/ 252 h 336"/>
                <a:gd name="T76" fmla="*/ 168 w 266"/>
                <a:gd name="T77" fmla="*/ 254 h 336"/>
                <a:gd name="T78" fmla="*/ 137 w 266"/>
                <a:gd name="T79" fmla="*/ 291 h 336"/>
                <a:gd name="T80" fmla="*/ 133 w 266"/>
                <a:gd name="T81" fmla="*/ 286 h 336"/>
                <a:gd name="T82" fmla="*/ 89 w 266"/>
                <a:gd name="T83" fmla="*/ 301 h 336"/>
                <a:gd name="T84" fmla="*/ 85 w 266"/>
                <a:gd name="T85" fmla="*/ 301 h 336"/>
                <a:gd name="T86" fmla="*/ 52 w 266"/>
                <a:gd name="T87" fmla="*/ 286 h 336"/>
                <a:gd name="T88" fmla="*/ 52 w 266"/>
                <a:gd name="T89" fmla="*/ 284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66" h="336">
                  <a:moveTo>
                    <a:pt x="11" y="35"/>
                  </a:moveTo>
                  <a:lnTo>
                    <a:pt x="13" y="74"/>
                  </a:lnTo>
                  <a:lnTo>
                    <a:pt x="0" y="89"/>
                  </a:lnTo>
                  <a:lnTo>
                    <a:pt x="7" y="106"/>
                  </a:lnTo>
                  <a:lnTo>
                    <a:pt x="24" y="119"/>
                  </a:lnTo>
                  <a:lnTo>
                    <a:pt x="24" y="148"/>
                  </a:lnTo>
                  <a:lnTo>
                    <a:pt x="33" y="193"/>
                  </a:lnTo>
                  <a:lnTo>
                    <a:pt x="31" y="234"/>
                  </a:lnTo>
                  <a:lnTo>
                    <a:pt x="22" y="304"/>
                  </a:lnTo>
                  <a:lnTo>
                    <a:pt x="31" y="317"/>
                  </a:lnTo>
                  <a:lnTo>
                    <a:pt x="50" y="308"/>
                  </a:lnTo>
                  <a:lnTo>
                    <a:pt x="61" y="327"/>
                  </a:lnTo>
                  <a:lnTo>
                    <a:pt x="116" y="310"/>
                  </a:lnTo>
                  <a:lnTo>
                    <a:pt x="118" y="310"/>
                  </a:lnTo>
                  <a:lnTo>
                    <a:pt x="118" y="310"/>
                  </a:lnTo>
                  <a:lnTo>
                    <a:pt x="135" y="334"/>
                  </a:lnTo>
                  <a:lnTo>
                    <a:pt x="161" y="336"/>
                  </a:lnTo>
                  <a:lnTo>
                    <a:pt x="181" y="297"/>
                  </a:lnTo>
                  <a:lnTo>
                    <a:pt x="183" y="295"/>
                  </a:lnTo>
                  <a:lnTo>
                    <a:pt x="183" y="295"/>
                  </a:lnTo>
                  <a:lnTo>
                    <a:pt x="205" y="286"/>
                  </a:lnTo>
                  <a:lnTo>
                    <a:pt x="196" y="275"/>
                  </a:lnTo>
                  <a:lnTo>
                    <a:pt x="196" y="273"/>
                  </a:lnTo>
                  <a:lnTo>
                    <a:pt x="196" y="273"/>
                  </a:lnTo>
                  <a:lnTo>
                    <a:pt x="207" y="252"/>
                  </a:lnTo>
                  <a:lnTo>
                    <a:pt x="194" y="239"/>
                  </a:lnTo>
                  <a:lnTo>
                    <a:pt x="194" y="239"/>
                  </a:lnTo>
                  <a:lnTo>
                    <a:pt x="194" y="236"/>
                  </a:lnTo>
                  <a:lnTo>
                    <a:pt x="209" y="221"/>
                  </a:lnTo>
                  <a:lnTo>
                    <a:pt x="211" y="208"/>
                  </a:lnTo>
                  <a:lnTo>
                    <a:pt x="211" y="206"/>
                  </a:lnTo>
                  <a:lnTo>
                    <a:pt x="214" y="206"/>
                  </a:lnTo>
                  <a:lnTo>
                    <a:pt x="231" y="197"/>
                  </a:lnTo>
                  <a:lnTo>
                    <a:pt x="231" y="197"/>
                  </a:lnTo>
                  <a:lnTo>
                    <a:pt x="233" y="200"/>
                  </a:lnTo>
                  <a:lnTo>
                    <a:pt x="244" y="219"/>
                  </a:lnTo>
                  <a:lnTo>
                    <a:pt x="259" y="206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66" y="169"/>
                  </a:lnTo>
                  <a:lnTo>
                    <a:pt x="240" y="137"/>
                  </a:lnTo>
                  <a:lnTo>
                    <a:pt x="240" y="137"/>
                  </a:lnTo>
                  <a:lnTo>
                    <a:pt x="240" y="135"/>
                  </a:lnTo>
                  <a:lnTo>
                    <a:pt x="259" y="96"/>
                  </a:lnTo>
                  <a:lnTo>
                    <a:pt x="235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211" y="65"/>
                  </a:lnTo>
                  <a:lnTo>
                    <a:pt x="196" y="37"/>
                  </a:lnTo>
                  <a:lnTo>
                    <a:pt x="155" y="0"/>
                  </a:lnTo>
                  <a:lnTo>
                    <a:pt x="148" y="54"/>
                  </a:lnTo>
                  <a:lnTo>
                    <a:pt x="126" y="44"/>
                  </a:lnTo>
                  <a:lnTo>
                    <a:pt x="83" y="46"/>
                  </a:lnTo>
                  <a:lnTo>
                    <a:pt x="68" y="65"/>
                  </a:lnTo>
                  <a:lnTo>
                    <a:pt x="35" y="11"/>
                  </a:ln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2" y="284"/>
                  </a:moveTo>
                  <a:lnTo>
                    <a:pt x="52" y="256"/>
                  </a:lnTo>
                  <a:lnTo>
                    <a:pt x="52" y="256"/>
                  </a:lnTo>
                  <a:lnTo>
                    <a:pt x="52" y="256"/>
                  </a:lnTo>
                  <a:lnTo>
                    <a:pt x="52" y="254"/>
                  </a:lnTo>
                  <a:lnTo>
                    <a:pt x="52" y="252"/>
                  </a:lnTo>
                  <a:lnTo>
                    <a:pt x="55" y="252"/>
                  </a:lnTo>
                  <a:lnTo>
                    <a:pt x="83" y="249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2"/>
                  </a:lnTo>
                  <a:lnTo>
                    <a:pt x="83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85" y="230"/>
                  </a:lnTo>
                  <a:lnTo>
                    <a:pt x="116" y="206"/>
                  </a:lnTo>
                  <a:lnTo>
                    <a:pt x="96" y="195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3"/>
                  </a:lnTo>
                  <a:lnTo>
                    <a:pt x="70" y="161"/>
                  </a:lnTo>
                  <a:lnTo>
                    <a:pt x="70" y="161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5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79" y="132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0" y="141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02" y="143"/>
                  </a:lnTo>
                  <a:lnTo>
                    <a:pt x="120" y="171"/>
                  </a:lnTo>
                  <a:lnTo>
                    <a:pt x="144" y="171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4"/>
                  </a:lnTo>
                  <a:lnTo>
                    <a:pt x="148" y="176"/>
                  </a:lnTo>
                  <a:lnTo>
                    <a:pt x="150" y="200"/>
                  </a:lnTo>
                  <a:lnTo>
                    <a:pt x="168" y="215"/>
                  </a:lnTo>
                  <a:lnTo>
                    <a:pt x="168" y="215"/>
                  </a:lnTo>
                  <a:lnTo>
                    <a:pt x="170" y="215"/>
                  </a:lnTo>
                  <a:lnTo>
                    <a:pt x="170" y="217"/>
                  </a:lnTo>
                  <a:lnTo>
                    <a:pt x="170" y="217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6" y="254"/>
                  </a:lnTo>
                  <a:lnTo>
                    <a:pt x="142" y="288"/>
                  </a:lnTo>
                  <a:lnTo>
                    <a:pt x="137" y="291"/>
                  </a:lnTo>
                  <a:lnTo>
                    <a:pt x="135" y="295"/>
                  </a:lnTo>
                  <a:lnTo>
                    <a:pt x="135" y="291"/>
                  </a:lnTo>
                  <a:lnTo>
                    <a:pt x="133" y="286"/>
                  </a:lnTo>
                  <a:lnTo>
                    <a:pt x="131" y="256"/>
                  </a:lnTo>
                  <a:lnTo>
                    <a:pt x="92" y="299"/>
                  </a:lnTo>
                  <a:lnTo>
                    <a:pt x="89" y="301"/>
                  </a:lnTo>
                  <a:lnTo>
                    <a:pt x="89" y="304"/>
                  </a:lnTo>
                  <a:lnTo>
                    <a:pt x="87" y="301"/>
                  </a:lnTo>
                  <a:lnTo>
                    <a:pt x="85" y="301"/>
                  </a:lnTo>
                  <a:lnTo>
                    <a:pt x="55" y="286"/>
                  </a:lnTo>
                  <a:lnTo>
                    <a:pt x="55" y="286"/>
                  </a:lnTo>
                  <a:lnTo>
                    <a:pt x="52" y="286"/>
                  </a:lnTo>
                  <a:lnTo>
                    <a:pt x="52" y="284"/>
                  </a:lnTo>
                  <a:lnTo>
                    <a:pt x="52" y="284"/>
                  </a:lnTo>
                  <a:lnTo>
                    <a:pt x="52" y="28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9" name="Freeform 274">
              <a:extLst>
                <a:ext uri="{FF2B5EF4-FFF2-40B4-BE49-F238E27FC236}">
                  <a16:creationId xmlns:a16="http://schemas.microsoft.com/office/drawing/2014/main" xmlns="" id="{AB26286B-8A2B-4ED9-8B7B-3E72CA5E9C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" y="2753"/>
              <a:ext cx="224" cy="329"/>
            </a:xfrm>
            <a:custGeom>
              <a:avLst/>
              <a:gdLst>
                <a:gd name="T0" fmla="*/ 69 w 224"/>
                <a:gd name="T1" fmla="*/ 21 h 329"/>
                <a:gd name="T2" fmla="*/ 65 w 224"/>
                <a:gd name="T3" fmla="*/ 21 h 329"/>
                <a:gd name="T4" fmla="*/ 39 w 224"/>
                <a:gd name="T5" fmla="*/ 8 h 329"/>
                <a:gd name="T6" fmla="*/ 37 w 224"/>
                <a:gd name="T7" fmla="*/ 21 h 329"/>
                <a:gd name="T8" fmla="*/ 24 w 224"/>
                <a:gd name="T9" fmla="*/ 37 h 329"/>
                <a:gd name="T10" fmla="*/ 37 w 224"/>
                <a:gd name="T11" fmla="*/ 47 h 329"/>
                <a:gd name="T12" fmla="*/ 24 w 224"/>
                <a:gd name="T13" fmla="*/ 71 h 329"/>
                <a:gd name="T14" fmla="*/ 34 w 224"/>
                <a:gd name="T15" fmla="*/ 86 h 329"/>
                <a:gd name="T16" fmla="*/ 8 w 224"/>
                <a:gd name="T17" fmla="*/ 97 h 329"/>
                <a:gd name="T18" fmla="*/ 26 w 224"/>
                <a:gd name="T19" fmla="*/ 167 h 329"/>
                <a:gd name="T20" fmla="*/ 26 w 224"/>
                <a:gd name="T21" fmla="*/ 169 h 329"/>
                <a:gd name="T22" fmla="*/ 8 w 224"/>
                <a:gd name="T23" fmla="*/ 216 h 329"/>
                <a:gd name="T24" fmla="*/ 80 w 224"/>
                <a:gd name="T25" fmla="*/ 258 h 329"/>
                <a:gd name="T26" fmla="*/ 82 w 224"/>
                <a:gd name="T27" fmla="*/ 258 h 329"/>
                <a:gd name="T28" fmla="*/ 89 w 224"/>
                <a:gd name="T29" fmla="*/ 284 h 329"/>
                <a:gd name="T30" fmla="*/ 82 w 224"/>
                <a:gd name="T31" fmla="*/ 299 h 329"/>
                <a:gd name="T32" fmla="*/ 130 w 224"/>
                <a:gd name="T33" fmla="*/ 318 h 329"/>
                <a:gd name="T34" fmla="*/ 133 w 224"/>
                <a:gd name="T35" fmla="*/ 318 h 329"/>
                <a:gd name="T36" fmla="*/ 156 w 224"/>
                <a:gd name="T37" fmla="*/ 320 h 329"/>
                <a:gd name="T38" fmla="*/ 148 w 224"/>
                <a:gd name="T39" fmla="*/ 303 h 329"/>
                <a:gd name="T40" fmla="*/ 172 w 224"/>
                <a:gd name="T41" fmla="*/ 286 h 329"/>
                <a:gd name="T42" fmla="*/ 174 w 224"/>
                <a:gd name="T43" fmla="*/ 286 h 329"/>
                <a:gd name="T44" fmla="*/ 222 w 224"/>
                <a:gd name="T45" fmla="*/ 277 h 329"/>
                <a:gd name="T46" fmla="*/ 218 w 224"/>
                <a:gd name="T47" fmla="*/ 210 h 329"/>
                <a:gd name="T48" fmla="*/ 194 w 224"/>
                <a:gd name="T49" fmla="*/ 169 h 329"/>
                <a:gd name="T50" fmla="*/ 200 w 224"/>
                <a:gd name="T51" fmla="*/ 130 h 329"/>
                <a:gd name="T52" fmla="*/ 178 w 224"/>
                <a:gd name="T53" fmla="*/ 93 h 329"/>
                <a:gd name="T54" fmla="*/ 167 w 224"/>
                <a:gd name="T55" fmla="*/ 69 h 329"/>
                <a:gd name="T56" fmla="*/ 146 w 224"/>
                <a:gd name="T57" fmla="*/ 63 h 329"/>
                <a:gd name="T58" fmla="*/ 135 w 224"/>
                <a:gd name="T59" fmla="*/ 47 h 329"/>
                <a:gd name="T60" fmla="*/ 117 w 224"/>
                <a:gd name="T61" fmla="*/ 50 h 329"/>
                <a:gd name="T62" fmla="*/ 85 w 224"/>
                <a:gd name="T63" fmla="*/ 8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4" h="329">
                  <a:moveTo>
                    <a:pt x="85" y="8"/>
                  </a:moveTo>
                  <a:lnTo>
                    <a:pt x="69" y="21"/>
                  </a:lnTo>
                  <a:lnTo>
                    <a:pt x="67" y="24"/>
                  </a:lnTo>
                  <a:lnTo>
                    <a:pt x="65" y="21"/>
                  </a:lnTo>
                  <a:lnTo>
                    <a:pt x="54" y="0"/>
                  </a:lnTo>
                  <a:lnTo>
                    <a:pt x="39" y="8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24" y="37"/>
                  </a:lnTo>
                  <a:lnTo>
                    <a:pt x="34" y="47"/>
                  </a:lnTo>
                  <a:lnTo>
                    <a:pt x="37" y="47"/>
                  </a:lnTo>
                  <a:lnTo>
                    <a:pt x="37" y="50"/>
                  </a:lnTo>
                  <a:lnTo>
                    <a:pt x="24" y="71"/>
                  </a:lnTo>
                  <a:lnTo>
                    <a:pt x="32" y="84"/>
                  </a:lnTo>
                  <a:lnTo>
                    <a:pt x="34" y="86"/>
                  </a:lnTo>
                  <a:lnTo>
                    <a:pt x="32" y="89"/>
                  </a:lnTo>
                  <a:lnTo>
                    <a:pt x="8" y="97"/>
                  </a:lnTo>
                  <a:lnTo>
                    <a:pt x="0" y="117"/>
                  </a:lnTo>
                  <a:lnTo>
                    <a:pt x="26" y="167"/>
                  </a:lnTo>
                  <a:lnTo>
                    <a:pt x="28" y="169"/>
                  </a:lnTo>
                  <a:lnTo>
                    <a:pt x="26" y="169"/>
                  </a:lnTo>
                  <a:lnTo>
                    <a:pt x="8" y="182"/>
                  </a:lnTo>
                  <a:lnTo>
                    <a:pt x="8" y="216"/>
                  </a:lnTo>
                  <a:lnTo>
                    <a:pt x="54" y="258"/>
                  </a:lnTo>
                  <a:lnTo>
                    <a:pt x="80" y="258"/>
                  </a:lnTo>
                  <a:lnTo>
                    <a:pt x="80" y="258"/>
                  </a:lnTo>
                  <a:lnTo>
                    <a:pt x="82" y="258"/>
                  </a:lnTo>
                  <a:lnTo>
                    <a:pt x="89" y="284"/>
                  </a:lnTo>
                  <a:lnTo>
                    <a:pt x="89" y="284"/>
                  </a:lnTo>
                  <a:lnTo>
                    <a:pt x="89" y="286"/>
                  </a:lnTo>
                  <a:lnTo>
                    <a:pt x="82" y="299"/>
                  </a:lnTo>
                  <a:lnTo>
                    <a:pt x="104" y="316"/>
                  </a:lnTo>
                  <a:lnTo>
                    <a:pt x="130" y="318"/>
                  </a:lnTo>
                  <a:lnTo>
                    <a:pt x="130" y="318"/>
                  </a:lnTo>
                  <a:lnTo>
                    <a:pt x="133" y="318"/>
                  </a:lnTo>
                  <a:lnTo>
                    <a:pt x="139" y="329"/>
                  </a:lnTo>
                  <a:lnTo>
                    <a:pt x="156" y="320"/>
                  </a:lnTo>
                  <a:lnTo>
                    <a:pt x="148" y="305"/>
                  </a:lnTo>
                  <a:lnTo>
                    <a:pt x="148" y="303"/>
                  </a:lnTo>
                  <a:lnTo>
                    <a:pt x="150" y="303"/>
                  </a:lnTo>
                  <a:lnTo>
                    <a:pt x="172" y="286"/>
                  </a:lnTo>
                  <a:lnTo>
                    <a:pt x="172" y="286"/>
                  </a:lnTo>
                  <a:lnTo>
                    <a:pt x="174" y="286"/>
                  </a:lnTo>
                  <a:lnTo>
                    <a:pt x="211" y="286"/>
                  </a:lnTo>
                  <a:lnTo>
                    <a:pt x="222" y="277"/>
                  </a:lnTo>
                  <a:lnTo>
                    <a:pt x="224" y="242"/>
                  </a:lnTo>
                  <a:lnTo>
                    <a:pt x="218" y="210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7"/>
                  </a:lnTo>
                  <a:lnTo>
                    <a:pt x="200" y="130"/>
                  </a:lnTo>
                  <a:lnTo>
                    <a:pt x="178" y="93"/>
                  </a:lnTo>
                  <a:lnTo>
                    <a:pt x="178" y="93"/>
                  </a:lnTo>
                  <a:lnTo>
                    <a:pt x="176" y="93"/>
                  </a:lnTo>
                  <a:lnTo>
                    <a:pt x="167" y="69"/>
                  </a:lnTo>
                  <a:lnTo>
                    <a:pt x="148" y="63"/>
                  </a:lnTo>
                  <a:lnTo>
                    <a:pt x="146" y="63"/>
                  </a:lnTo>
                  <a:lnTo>
                    <a:pt x="146" y="63"/>
                  </a:lnTo>
                  <a:lnTo>
                    <a:pt x="135" y="47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0"/>
                  </a:lnTo>
                  <a:lnTo>
                    <a:pt x="85" y="8"/>
                  </a:lnTo>
                  <a:lnTo>
                    <a:pt x="85" y="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0" name="Freeform 275">
              <a:extLst>
                <a:ext uri="{FF2B5EF4-FFF2-40B4-BE49-F238E27FC236}">
                  <a16:creationId xmlns:a16="http://schemas.microsoft.com/office/drawing/2014/main" xmlns="" id="{50601D3E-FD7F-4941-A5B0-DB159386A0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" y="2688"/>
              <a:ext cx="109" cy="160"/>
            </a:xfrm>
            <a:custGeom>
              <a:avLst/>
              <a:gdLst>
                <a:gd name="T0" fmla="*/ 0 w 109"/>
                <a:gd name="T1" fmla="*/ 119 h 160"/>
                <a:gd name="T2" fmla="*/ 0 w 109"/>
                <a:gd name="T3" fmla="*/ 147 h 160"/>
                <a:gd name="T4" fmla="*/ 30 w 109"/>
                <a:gd name="T5" fmla="*/ 160 h 160"/>
                <a:gd name="T6" fmla="*/ 74 w 109"/>
                <a:gd name="T7" fmla="*/ 115 h 160"/>
                <a:gd name="T8" fmla="*/ 76 w 109"/>
                <a:gd name="T9" fmla="*/ 110 h 160"/>
                <a:gd name="T10" fmla="*/ 76 w 109"/>
                <a:gd name="T11" fmla="*/ 115 h 160"/>
                <a:gd name="T12" fmla="*/ 80 w 109"/>
                <a:gd name="T13" fmla="*/ 147 h 160"/>
                <a:gd name="T14" fmla="*/ 107 w 109"/>
                <a:gd name="T15" fmla="*/ 115 h 160"/>
                <a:gd name="T16" fmla="*/ 109 w 109"/>
                <a:gd name="T17" fmla="*/ 80 h 160"/>
                <a:gd name="T18" fmla="*/ 89 w 109"/>
                <a:gd name="T19" fmla="*/ 65 h 160"/>
                <a:gd name="T20" fmla="*/ 89 w 109"/>
                <a:gd name="T21" fmla="*/ 65 h 160"/>
                <a:gd name="T22" fmla="*/ 89 w 109"/>
                <a:gd name="T23" fmla="*/ 65 h 160"/>
                <a:gd name="T24" fmla="*/ 87 w 109"/>
                <a:gd name="T25" fmla="*/ 39 h 160"/>
                <a:gd name="T26" fmla="*/ 87 w 109"/>
                <a:gd name="T27" fmla="*/ 39 h 160"/>
                <a:gd name="T28" fmla="*/ 61 w 109"/>
                <a:gd name="T29" fmla="*/ 39 h 160"/>
                <a:gd name="T30" fmla="*/ 61 w 109"/>
                <a:gd name="T31" fmla="*/ 39 h 160"/>
                <a:gd name="T32" fmla="*/ 61 w 109"/>
                <a:gd name="T33" fmla="*/ 37 h 160"/>
                <a:gd name="T34" fmla="*/ 41 w 109"/>
                <a:gd name="T35" fmla="*/ 8 h 160"/>
                <a:gd name="T36" fmla="*/ 19 w 109"/>
                <a:gd name="T37" fmla="*/ 0 h 160"/>
                <a:gd name="T38" fmla="*/ 19 w 109"/>
                <a:gd name="T39" fmla="*/ 0 h 160"/>
                <a:gd name="T40" fmla="*/ 17 w 109"/>
                <a:gd name="T41" fmla="*/ 24 h 160"/>
                <a:gd name="T42" fmla="*/ 17 w 109"/>
                <a:gd name="T43" fmla="*/ 24 h 160"/>
                <a:gd name="T44" fmla="*/ 17 w 109"/>
                <a:gd name="T45" fmla="*/ 24 h 160"/>
                <a:gd name="T46" fmla="*/ 41 w 109"/>
                <a:gd name="T47" fmla="*/ 54 h 160"/>
                <a:gd name="T48" fmla="*/ 41 w 109"/>
                <a:gd name="T49" fmla="*/ 54 h 160"/>
                <a:gd name="T50" fmla="*/ 41 w 109"/>
                <a:gd name="T51" fmla="*/ 54 h 160"/>
                <a:gd name="T52" fmla="*/ 65 w 109"/>
                <a:gd name="T53" fmla="*/ 67 h 160"/>
                <a:gd name="T54" fmla="*/ 67 w 109"/>
                <a:gd name="T55" fmla="*/ 69 h 160"/>
                <a:gd name="T56" fmla="*/ 65 w 109"/>
                <a:gd name="T57" fmla="*/ 71 h 160"/>
                <a:gd name="T58" fmla="*/ 30 w 109"/>
                <a:gd name="T59" fmla="*/ 95 h 160"/>
                <a:gd name="T60" fmla="*/ 30 w 109"/>
                <a:gd name="T61" fmla="*/ 95 h 160"/>
                <a:gd name="T62" fmla="*/ 30 w 109"/>
                <a:gd name="T63" fmla="*/ 115 h 160"/>
                <a:gd name="T64" fmla="*/ 30 w 109"/>
                <a:gd name="T65" fmla="*/ 117 h 160"/>
                <a:gd name="T66" fmla="*/ 28 w 109"/>
                <a:gd name="T67" fmla="*/ 117 h 160"/>
                <a:gd name="T68" fmla="*/ 0 w 109"/>
                <a:gd name="T69" fmla="*/ 119 h 160"/>
                <a:gd name="T70" fmla="*/ 0 w 109"/>
                <a:gd name="T71" fmla="*/ 119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9" h="160">
                  <a:moveTo>
                    <a:pt x="0" y="119"/>
                  </a:moveTo>
                  <a:lnTo>
                    <a:pt x="0" y="147"/>
                  </a:lnTo>
                  <a:lnTo>
                    <a:pt x="30" y="160"/>
                  </a:lnTo>
                  <a:lnTo>
                    <a:pt x="74" y="115"/>
                  </a:lnTo>
                  <a:lnTo>
                    <a:pt x="76" y="110"/>
                  </a:lnTo>
                  <a:lnTo>
                    <a:pt x="76" y="115"/>
                  </a:lnTo>
                  <a:lnTo>
                    <a:pt x="80" y="147"/>
                  </a:lnTo>
                  <a:lnTo>
                    <a:pt x="107" y="115"/>
                  </a:lnTo>
                  <a:lnTo>
                    <a:pt x="109" y="80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9" y="65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7"/>
                  </a:lnTo>
                  <a:lnTo>
                    <a:pt x="41" y="8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65" y="67"/>
                  </a:lnTo>
                  <a:lnTo>
                    <a:pt x="67" y="69"/>
                  </a:lnTo>
                  <a:lnTo>
                    <a:pt x="65" y="71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115"/>
                  </a:lnTo>
                  <a:lnTo>
                    <a:pt x="30" y="117"/>
                  </a:lnTo>
                  <a:lnTo>
                    <a:pt x="28" y="117"/>
                  </a:lnTo>
                  <a:lnTo>
                    <a:pt x="0" y="119"/>
                  </a:lnTo>
                  <a:lnTo>
                    <a:pt x="0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1" name="Freeform 276">
              <a:extLst>
                <a:ext uri="{FF2B5EF4-FFF2-40B4-BE49-F238E27FC236}">
                  <a16:creationId xmlns:a16="http://schemas.microsoft.com/office/drawing/2014/main" xmlns="" id="{DB2DBBFE-7200-4841-9048-84716CBEAA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9" y="3063"/>
              <a:ext cx="965" cy="736"/>
            </a:xfrm>
            <a:custGeom>
              <a:avLst/>
              <a:gdLst>
                <a:gd name="T0" fmla="*/ 200 w 965"/>
                <a:gd name="T1" fmla="*/ 632 h 736"/>
                <a:gd name="T2" fmla="*/ 329 w 965"/>
                <a:gd name="T3" fmla="*/ 734 h 736"/>
                <a:gd name="T4" fmla="*/ 497 w 965"/>
                <a:gd name="T5" fmla="*/ 708 h 736"/>
                <a:gd name="T6" fmla="*/ 549 w 965"/>
                <a:gd name="T7" fmla="*/ 697 h 736"/>
                <a:gd name="T8" fmla="*/ 580 w 965"/>
                <a:gd name="T9" fmla="*/ 680 h 736"/>
                <a:gd name="T10" fmla="*/ 549 w 965"/>
                <a:gd name="T11" fmla="*/ 643 h 736"/>
                <a:gd name="T12" fmla="*/ 566 w 965"/>
                <a:gd name="T13" fmla="*/ 583 h 736"/>
                <a:gd name="T14" fmla="*/ 662 w 965"/>
                <a:gd name="T15" fmla="*/ 554 h 736"/>
                <a:gd name="T16" fmla="*/ 695 w 965"/>
                <a:gd name="T17" fmla="*/ 557 h 736"/>
                <a:gd name="T18" fmla="*/ 756 w 965"/>
                <a:gd name="T19" fmla="*/ 478 h 736"/>
                <a:gd name="T20" fmla="*/ 806 w 965"/>
                <a:gd name="T21" fmla="*/ 457 h 736"/>
                <a:gd name="T22" fmla="*/ 863 w 965"/>
                <a:gd name="T23" fmla="*/ 413 h 736"/>
                <a:gd name="T24" fmla="*/ 839 w 965"/>
                <a:gd name="T25" fmla="*/ 364 h 736"/>
                <a:gd name="T26" fmla="*/ 839 w 965"/>
                <a:gd name="T27" fmla="*/ 331 h 736"/>
                <a:gd name="T28" fmla="*/ 915 w 965"/>
                <a:gd name="T29" fmla="*/ 242 h 736"/>
                <a:gd name="T30" fmla="*/ 965 w 965"/>
                <a:gd name="T31" fmla="*/ 225 h 736"/>
                <a:gd name="T32" fmla="*/ 898 w 965"/>
                <a:gd name="T33" fmla="*/ 153 h 736"/>
                <a:gd name="T34" fmla="*/ 869 w 965"/>
                <a:gd name="T35" fmla="*/ 67 h 736"/>
                <a:gd name="T36" fmla="*/ 852 w 965"/>
                <a:gd name="T37" fmla="*/ 47 h 736"/>
                <a:gd name="T38" fmla="*/ 845 w 965"/>
                <a:gd name="T39" fmla="*/ 23 h 736"/>
                <a:gd name="T40" fmla="*/ 826 w 965"/>
                <a:gd name="T41" fmla="*/ 21 h 736"/>
                <a:gd name="T42" fmla="*/ 815 w 965"/>
                <a:gd name="T43" fmla="*/ 60 h 736"/>
                <a:gd name="T44" fmla="*/ 719 w 965"/>
                <a:gd name="T45" fmla="*/ 84 h 736"/>
                <a:gd name="T46" fmla="*/ 680 w 965"/>
                <a:gd name="T47" fmla="*/ 62 h 736"/>
                <a:gd name="T48" fmla="*/ 649 w 965"/>
                <a:gd name="T49" fmla="*/ 78 h 736"/>
                <a:gd name="T50" fmla="*/ 603 w 965"/>
                <a:gd name="T51" fmla="*/ 95 h 736"/>
                <a:gd name="T52" fmla="*/ 577 w 965"/>
                <a:gd name="T53" fmla="*/ 86 h 736"/>
                <a:gd name="T54" fmla="*/ 571 w 965"/>
                <a:gd name="T55" fmla="*/ 114 h 736"/>
                <a:gd name="T56" fmla="*/ 558 w 965"/>
                <a:gd name="T57" fmla="*/ 164 h 736"/>
                <a:gd name="T58" fmla="*/ 534 w 965"/>
                <a:gd name="T59" fmla="*/ 195 h 736"/>
                <a:gd name="T60" fmla="*/ 547 w 965"/>
                <a:gd name="T61" fmla="*/ 266 h 736"/>
                <a:gd name="T62" fmla="*/ 558 w 965"/>
                <a:gd name="T63" fmla="*/ 208 h 736"/>
                <a:gd name="T64" fmla="*/ 573 w 965"/>
                <a:gd name="T65" fmla="*/ 179 h 736"/>
                <a:gd name="T66" fmla="*/ 595 w 965"/>
                <a:gd name="T67" fmla="*/ 184 h 736"/>
                <a:gd name="T68" fmla="*/ 599 w 965"/>
                <a:gd name="T69" fmla="*/ 208 h 736"/>
                <a:gd name="T70" fmla="*/ 601 w 965"/>
                <a:gd name="T71" fmla="*/ 335 h 736"/>
                <a:gd name="T72" fmla="*/ 590 w 965"/>
                <a:gd name="T73" fmla="*/ 364 h 736"/>
                <a:gd name="T74" fmla="*/ 575 w 965"/>
                <a:gd name="T75" fmla="*/ 379 h 736"/>
                <a:gd name="T76" fmla="*/ 575 w 965"/>
                <a:gd name="T77" fmla="*/ 407 h 736"/>
                <a:gd name="T78" fmla="*/ 566 w 965"/>
                <a:gd name="T79" fmla="*/ 426 h 736"/>
                <a:gd name="T80" fmla="*/ 549 w 965"/>
                <a:gd name="T81" fmla="*/ 450 h 736"/>
                <a:gd name="T82" fmla="*/ 525 w 965"/>
                <a:gd name="T83" fmla="*/ 487 h 736"/>
                <a:gd name="T84" fmla="*/ 492 w 965"/>
                <a:gd name="T85" fmla="*/ 498 h 736"/>
                <a:gd name="T86" fmla="*/ 468 w 965"/>
                <a:gd name="T87" fmla="*/ 528 h 736"/>
                <a:gd name="T88" fmla="*/ 436 w 965"/>
                <a:gd name="T89" fmla="*/ 565 h 736"/>
                <a:gd name="T90" fmla="*/ 416 w 965"/>
                <a:gd name="T91" fmla="*/ 587 h 736"/>
                <a:gd name="T92" fmla="*/ 348 w 965"/>
                <a:gd name="T93" fmla="*/ 639 h 736"/>
                <a:gd name="T94" fmla="*/ 309 w 965"/>
                <a:gd name="T95" fmla="*/ 654 h 736"/>
                <a:gd name="T96" fmla="*/ 301 w 965"/>
                <a:gd name="T97" fmla="*/ 630 h 736"/>
                <a:gd name="T98" fmla="*/ 259 w 965"/>
                <a:gd name="T99" fmla="*/ 619 h 736"/>
                <a:gd name="T100" fmla="*/ 189 w 965"/>
                <a:gd name="T101" fmla="*/ 554 h 736"/>
                <a:gd name="T102" fmla="*/ 111 w 965"/>
                <a:gd name="T103" fmla="*/ 494 h 736"/>
                <a:gd name="T104" fmla="*/ 87 w 965"/>
                <a:gd name="T105" fmla="*/ 459 h 736"/>
                <a:gd name="T106" fmla="*/ 46 w 965"/>
                <a:gd name="T107" fmla="*/ 487 h 736"/>
                <a:gd name="T108" fmla="*/ 26 w 965"/>
                <a:gd name="T109" fmla="*/ 494 h 736"/>
                <a:gd name="T110" fmla="*/ 17 w 965"/>
                <a:gd name="T111" fmla="*/ 524 h 736"/>
                <a:gd name="T112" fmla="*/ 0 w 965"/>
                <a:gd name="T113" fmla="*/ 544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65" h="736">
                  <a:moveTo>
                    <a:pt x="15" y="572"/>
                  </a:moveTo>
                  <a:lnTo>
                    <a:pt x="111" y="611"/>
                  </a:lnTo>
                  <a:lnTo>
                    <a:pt x="200" y="632"/>
                  </a:lnTo>
                  <a:lnTo>
                    <a:pt x="218" y="702"/>
                  </a:lnTo>
                  <a:lnTo>
                    <a:pt x="283" y="736"/>
                  </a:lnTo>
                  <a:lnTo>
                    <a:pt x="329" y="734"/>
                  </a:lnTo>
                  <a:lnTo>
                    <a:pt x="394" y="695"/>
                  </a:lnTo>
                  <a:lnTo>
                    <a:pt x="444" y="713"/>
                  </a:lnTo>
                  <a:lnTo>
                    <a:pt x="497" y="708"/>
                  </a:lnTo>
                  <a:lnTo>
                    <a:pt x="510" y="732"/>
                  </a:lnTo>
                  <a:lnTo>
                    <a:pt x="540" y="734"/>
                  </a:lnTo>
                  <a:lnTo>
                    <a:pt x="549" y="697"/>
                  </a:lnTo>
                  <a:lnTo>
                    <a:pt x="549" y="695"/>
                  </a:lnTo>
                  <a:lnTo>
                    <a:pt x="551" y="695"/>
                  </a:lnTo>
                  <a:lnTo>
                    <a:pt x="580" y="680"/>
                  </a:lnTo>
                  <a:lnTo>
                    <a:pt x="549" y="648"/>
                  </a:lnTo>
                  <a:lnTo>
                    <a:pt x="547" y="645"/>
                  </a:lnTo>
                  <a:lnTo>
                    <a:pt x="549" y="643"/>
                  </a:lnTo>
                  <a:lnTo>
                    <a:pt x="580" y="619"/>
                  </a:lnTo>
                  <a:lnTo>
                    <a:pt x="566" y="585"/>
                  </a:lnTo>
                  <a:lnTo>
                    <a:pt x="566" y="583"/>
                  </a:lnTo>
                  <a:lnTo>
                    <a:pt x="569" y="583"/>
                  </a:lnTo>
                  <a:lnTo>
                    <a:pt x="627" y="583"/>
                  </a:lnTo>
                  <a:lnTo>
                    <a:pt x="662" y="554"/>
                  </a:lnTo>
                  <a:lnTo>
                    <a:pt x="662" y="552"/>
                  </a:lnTo>
                  <a:lnTo>
                    <a:pt x="665" y="552"/>
                  </a:lnTo>
                  <a:lnTo>
                    <a:pt x="695" y="557"/>
                  </a:lnTo>
                  <a:lnTo>
                    <a:pt x="754" y="481"/>
                  </a:lnTo>
                  <a:lnTo>
                    <a:pt x="754" y="478"/>
                  </a:lnTo>
                  <a:lnTo>
                    <a:pt x="756" y="478"/>
                  </a:lnTo>
                  <a:lnTo>
                    <a:pt x="793" y="476"/>
                  </a:lnTo>
                  <a:lnTo>
                    <a:pt x="804" y="457"/>
                  </a:lnTo>
                  <a:lnTo>
                    <a:pt x="806" y="457"/>
                  </a:lnTo>
                  <a:lnTo>
                    <a:pt x="806" y="457"/>
                  </a:lnTo>
                  <a:lnTo>
                    <a:pt x="839" y="444"/>
                  </a:lnTo>
                  <a:lnTo>
                    <a:pt x="863" y="413"/>
                  </a:lnTo>
                  <a:lnTo>
                    <a:pt x="865" y="381"/>
                  </a:lnTo>
                  <a:lnTo>
                    <a:pt x="839" y="364"/>
                  </a:lnTo>
                  <a:lnTo>
                    <a:pt x="839" y="364"/>
                  </a:lnTo>
                  <a:lnTo>
                    <a:pt x="839" y="361"/>
                  </a:lnTo>
                  <a:lnTo>
                    <a:pt x="839" y="331"/>
                  </a:lnTo>
                  <a:lnTo>
                    <a:pt x="839" y="331"/>
                  </a:lnTo>
                  <a:lnTo>
                    <a:pt x="839" y="329"/>
                  </a:lnTo>
                  <a:lnTo>
                    <a:pt x="896" y="288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15" y="242"/>
                  </a:lnTo>
                  <a:lnTo>
                    <a:pt x="965" y="225"/>
                  </a:lnTo>
                  <a:lnTo>
                    <a:pt x="963" y="186"/>
                  </a:lnTo>
                  <a:lnTo>
                    <a:pt x="933" y="158"/>
                  </a:lnTo>
                  <a:lnTo>
                    <a:pt x="898" y="153"/>
                  </a:lnTo>
                  <a:lnTo>
                    <a:pt x="898" y="151"/>
                  </a:lnTo>
                  <a:lnTo>
                    <a:pt x="898" y="151"/>
                  </a:lnTo>
                  <a:lnTo>
                    <a:pt x="869" y="67"/>
                  </a:lnTo>
                  <a:lnTo>
                    <a:pt x="852" y="52"/>
                  </a:lnTo>
                  <a:lnTo>
                    <a:pt x="850" y="49"/>
                  </a:lnTo>
                  <a:lnTo>
                    <a:pt x="852" y="47"/>
                  </a:lnTo>
                  <a:lnTo>
                    <a:pt x="869" y="23"/>
                  </a:lnTo>
                  <a:lnTo>
                    <a:pt x="865" y="0"/>
                  </a:lnTo>
                  <a:lnTo>
                    <a:pt x="845" y="23"/>
                  </a:lnTo>
                  <a:lnTo>
                    <a:pt x="845" y="23"/>
                  </a:lnTo>
                  <a:lnTo>
                    <a:pt x="843" y="23"/>
                  </a:lnTo>
                  <a:lnTo>
                    <a:pt x="826" y="21"/>
                  </a:lnTo>
                  <a:lnTo>
                    <a:pt x="817" y="58"/>
                  </a:lnTo>
                  <a:lnTo>
                    <a:pt x="815" y="60"/>
                  </a:lnTo>
                  <a:lnTo>
                    <a:pt x="815" y="60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9" y="84"/>
                  </a:lnTo>
                  <a:lnTo>
                    <a:pt x="702" y="62"/>
                  </a:lnTo>
                  <a:lnTo>
                    <a:pt x="682" y="62"/>
                  </a:lnTo>
                  <a:lnTo>
                    <a:pt x="680" y="62"/>
                  </a:lnTo>
                  <a:lnTo>
                    <a:pt x="680" y="62"/>
                  </a:lnTo>
                  <a:lnTo>
                    <a:pt x="660" y="52"/>
                  </a:lnTo>
                  <a:lnTo>
                    <a:pt x="649" y="78"/>
                  </a:lnTo>
                  <a:lnTo>
                    <a:pt x="649" y="80"/>
                  </a:lnTo>
                  <a:lnTo>
                    <a:pt x="647" y="80"/>
                  </a:lnTo>
                  <a:lnTo>
                    <a:pt x="603" y="95"/>
                  </a:lnTo>
                  <a:lnTo>
                    <a:pt x="601" y="95"/>
                  </a:lnTo>
                  <a:lnTo>
                    <a:pt x="601" y="95"/>
                  </a:lnTo>
                  <a:lnTo>
                    <a:pt x="577" y="86"/>
                  </a:lnTo>
                  <a:lnTo>
                    <a:pt x="573" y="112"/>
                  </a:lnTo>
                  <a:lnTo>
                    <a:pt x="573" y="114"/>
                  </a:lnTo>
                  <a:lnTo>
                    <a:pt x="571" y="114"/>
                  </a:lnTo>
                  <a:lnTo>
                    <a:pt x="525" y="119"/>
                  </a:lnTo>
                  <a:lnTo>
                    <a:pt x="529" y="143"/>
                  </a:lnTo>
                  <a:lnTo>
                    <a:pt x="558" y="164"/>
                  </a:lnTo>
                  <a:lnTo>
                    <a:pt x="560" y="166"/>
                  </a:lnTo>
                  <a:lnTo>
                    <a:pt x="558" y="169"/>
                  </a:lnTo>
                  <a:lnTo>
                    <a:pt x="534" y="195"/>
                  </a:lnTo>
                  <a:lnTo>
                    <a:pt x="529" y="238"/>
                  </a:lnTo>
                  <a:lnTo>
                    <a:pt x="545" y="273"/>
                  </a:lnTo>
                  <a:lnTo>
                    <a:pt x="547" y="266"/>
                  </a:lnTo>
                  <a:lnTo>
                    <a:pt x="556" y="208"/>
                  </a:lnTo>
                  <a:lnTo>
                    <a:pt x="556" y="208"/>
                  </a:lnTo>
                  <a:lnTo>
                    <a:pt x="558" y="208"/>
                  </a:lnTo>
                  <a:lnTo>
                    <a:pt x="573" y="182"/>
                  </a:lnTo>
                  <a:lnTo>
                    <a:pt x="573" y="179"/>
                  </a:lnTo>
                  <a:lnTo>
                    <a:pt x="573" y="179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9" y="205"/>
                  </a:lnTo>
                  <a:lnTo>
                    <a:pt x="599" y="205"/>
                  </a:lnTo>
                  <a:lnTo>
                    <a:pt x="599" y="208"/>
                  </a:lnTo>
                  <a:lnTo>
                    <a:pt x="590" y="257"/>
                  </a:lnTo>
                  <a:lnTo>
                    <a:pt x="593" y="309"/>
                  </a:lnTo>
                  <a:lnTo>
                    <a:pt x="601" y="335"/>
                  </a:lnTo>
                  <a:lnTo>
                    <a:pt x="601" y="338"/>
                  </a:lnTo>
                  <a:lnTo>
                    <a:pt x="601" y="338"/>
                  </a:lnTo>
                  <a:lnTo>
                    <a:pt x="590" y="364"/>
                  </a:lnTo>
                  <a:lnTo>
                    <a:pt x="590" y="364"/>
                  </a:lnTo>
                  <a:lnTo>
                    <a:pt x="590" y="366"/>
                  </a:lnTo>
                  <a:lnTo>
                    <a:pt x="575" y="379"/>
                  </a:lnTo>
                  <a:lnTo>
                    <a:pt x="569" y="390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75" y="407"/>
                  </a:lnTo>
                  <a:lnTo>
                    <a:pt x="569" y="424"/>
                  </a:lnTo>
                  <a:lnTo>
                    <a:pt x="566" y="426"/>
                  </a:lnTo>
                  <a:lnTo>
                    <a:pt x="566" y="426"/>
                  </a:lnTo>
                  <a:lnTo>
                    <a:pt x="549" y="431"/>
                  </a:lnTo>
                  <a:lnTo>
                    <a:pt x="549" y="450"/>
                  </a:lnTo>
                  <a:lnTo>
                    <a:pt x="549" y="450"/>
                  </a:lnTo>
                  <a:lnTo>
                    <a:pt x="547" y="450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525" y="487"/>
                  </a:lnTo>
                  <a:lnTo>
                    <a:pt x="492" y="498"/>
                  </a:lnTo>
                  <a:lnTo>
                    <a:pt x="471" y="528"/>
                  </a:lnTo>
                  <a:lnTo>
                    <a:pt x="468" y="528"/>
                  </a:lnTo>
                  <a:lnTo>
                    <a:pt x="468" y="528"/>
                  </a:lnTo>
                  <a:lnTo>
                    <a:pt x="442" y="526"/>
                  </a:lnTo>
                  <a:lnTo>
                    <a:pt x="436" y="563"/>
                  </a:lnTo>
                  <a:lnTo>
                    <a:pt x="436" y="565"/>
                  </a:lnTo>
                  <a:lnTo>
                    <a:pt x="436" y="565"/>
                  </a:lnTo>
                  <a:lnTo>
                    <a:pt x="418" y="585"/>
                  </a:lnTo>
                  <a:lnTo>
                    <a:pt x="416" y="587"/>
                  </a:lnTo>
                  <a:lnTo>
                    <a:pt x="416" y="587"/>
                  </a:lnTo>
                  <a:lnTo>
                    <a:pt x="357" y="613"/>
                  </a:lnTo>
                  <a:lnTo>
                    <a:pt x="348" y="639"/>
                  </a:lnTo>
                  <a:lnTo>
                    <a:pt x="348" y="641"/>
                  </a:lnTo>
                  <a:lnTo>
                    <a:pt x="348" y="641"/>
                  </a:lnTo>
                  <a:lnTo>
                    <a:pt x="309" y="654"/>
                  </a:lnTo>
                  <a:lnTo>
                    <a:pt x="307" y="654"/>
                  </a:lnTo>
                  <a:lnTo>
                    <a:pt x="307" y="652"/>
                  </a:lnTo>
                  <a:lnTo>
                    <a:pt x="301" y="630"/>
                  </a:lnTo>
                  <a:lnTo>
                    <a:pt x="261" y="622"/>
                  </a:lnTo>
                  <a:lnTo>
                    <a:pt x="259" y="622"/>
                  </a:lnTo>
                  <a:lnTo>
                    <a:pt x="259" y="619"/>
                  </a:lnTo>
                  <a:lnTo>
                    <a:pt x="255" y="591"/>
                  </a:lnTo>
                  <a:lnTo>
                    <a:pt x="22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89" y="55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111" y="494"/>
                  </a:lnTo>
                  <a:lnTo>
                    <a:pt x="87" y="459"/>
                  </a:lnTo>
                  <a:lnTo>
                    <a:pt x="48" y="487"/>
                  </a:lnTo>
                  <a:lnTo>
                    <a:pt x="48" y="487"/>
                  </a:lnTo>
                  <a:lnTo>
                    <a:pt x="46" y="487"/>
                  </a:lnTo>
                  <a:lnTo>
                    <a:pt x="24" y="487"/>
                  </a:lnTo>
                  <a:lnTo>
                    <a:pt x="26" y="492"/>
                  </a:lnTo>
                  <a:lnTo>
                    <a:pt x="26" y="494"/>
                  </a:lnTo>
                  <a:lnTo>
                    <a:pt x="24" y="494"/>
                  </a:lnTo>
                  <a:lnTo>
                    <a:pt x="13" y="507"/>
                  </a:lnTo>
                  <a:lnTo>
                    <a:pt x="17" y="524"/>
                  </a:lnTo>
                  <a:lnTo>
                    <a:pt x="17" y="524"/>
                  </a:lnTo>
                  <a:lnTo>
                    <a:pt x="17" y="526"/>
                  </a:lnTo>
                  <a:lnTo>
                    <a:pt x="0" y="544"/>
                  </a:lnTo>
                  <a:lnTo>
                    <a:pt x="15" y="572"/>
                  </a:lnTo>
                  <a:lnTo>
                    <a:pt x="15" y="57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2" name="Freeform 277">
              <a:extLst>
                <a:ext uri="{FF2B5EF4-FFF2-40B4-BE49-F238E27FC236}">
                  <a16:creationId xmlns:a16="http://schemas.microsoft.com/office/drawing/2014/main" xmlns="" id="{DEA48408-8FA3-4CE1-9BE7-3794F0EF4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5" y="3485"/>
              <a:ext cx="576" cy="366"/>
            </a:xfrm>
            <a:custGeom>
              <a:avLst/>
              <a:gdLst>
                <a:gd name="T0" fmla="*/ 164 w 576"/>
                <a:gd name="T1" fmla="*/ 260 h 366"/>
                <a:gd name="T2" fmla="*/ 227 w 576"/>
                <a:gd name="T3" fmla="*/ 269 h 366"/>
                <a:gd name="T4" fmla="*/ 310 w 576"/>
                <a:gd name="T5" fmla="*/ 321 h 366"/>
                <a:gd name="T6" fmla="*/ 423 w 576"/>
                <a:gd name="T7" fmla="*/ 345 h 366"/>
                <a:gd name="T8" fmla="*/ 473 w 576"/>
                <a:gd name="T9" fmla="*/ 366 h 366"/>
                <a:gd name="T10" fmla="*/ 523 w 576"/>
                <a:gd name="T11" fmla="*/ 336 h 366"/>
                <a:gd name="T12" fmla="*/ 512 w 576"/>
                <a:gd name="T13" fmla="*/ 260 h 366"/>
                <a:gd name="T14" fmla="*/ 534 w 576"/>
                <a:gd name="T15" fmla="*/ 202 h 366"/>
                <a:gd name="T16" fmla="*/ 558 w 576"/>
                <a:gd name="T17" fmla="*/ 178 h 366"/>
                <a:gd name="T18" fmla="*/ 549 w 576"/>
                <a:gd name="T19" fmla="*/ 122 h 366"/>
                <a:gd name="T20" fmla="*/ 549 w 576"/>
                <a:gd name="T21" fmla="*/ 119 h 366"/>
                <a:gd name="T22" fmla="*/ 563 w 576"/>
                <a:gd name="T23" fmla="*/ 85 h 366"/>
                <a:gd name="T24" fmla="*/ 563 w 576"/>
                <a:gd name="T25" fmla="*/ 83 h 366"/>
                <a:gd name="T26" fmla="*/ 571 w 576"/>
                <a:gd name="T27" fmla="*/ 59 h 366"/>
                <a:gd name="T28" fmla="*/ 536 w 576"/>
                <a:gd name="T29" fmla="*/ 61 h 366"/>
                <a:gd name="T30" fmla="*/ 451 w 576"/>
                <a:gd name="T31" fmla="*/ 0 h 366"/>
                <a:gd name="T32" fmla="*/ 445 w 576"/>
                <a:gd name="T33" fmla="*/ 26 h 366"/>
                <a:gd name="T34" fmla="*/ 340 w 576"/>
                <a:gd name="T35" fmla="*/ 35 h 366"/>
                <a:gd name="T36" fmla="*/ 332 w 576"/>
                <a:gd name="T37" fmla="*/ 63 h 366"/>
                <a:gd name="T38" fmla="*/ 312 w 576"/>
                <a:gd name="T39" fmla="*/ 70 h 366"/>
                <a:gd name="T40" fmla="*/ 314 w 576"/>
                <a:gd name="T41" fmla="*/ 89 h 366"/>
                <a:gd name="T42" fmla="*/ 284 w 576"/>
                <a:gd name="T43" fmla="*/ 109 h 366"/>
                <a:gd name="T44" fmla="*/ 284 w 576"/>
                <a:gd name="T45" fmla="*/ 128 h 366"/>
                <a:gd name="T46" fmla="*/ 262 w 576"/>
                <a:gd name="T47" fmla="*/ 132 h 366"/>
                <a:gd name="T48" fmla="*/ 227 w 576"/>
                <a:gd name="T49" fmla="*/ 163 h 366"/>
                <a:gd name="T50" fmla="*/ 146 w 576"/>
                <a:gd name="T51" fmla="*/ 152 h 366"/>
                <a:gd name="T52" fmla="*/ 144 w 576"/>
                <a:gd name="T53" fmla="*/ 152 h 366"/>
                <a:gd name="T54" fmla="*/ 72 w 576"/>
                <a:gd name="T55" fmla="*/ 115 h 366"/>
                <a:gd name="T56" fmla="*/ 57 w 576"/>
                <a:gd name="T57" fmla="*/ 154 h 366"/>
                <a:gd name="T58" fmla="*/ 0 w 576"/>
                <a:gd name="T59" fmla="*/ 158 h 366"/>
                <a:gd name="T60" fmla="*/ 37 w 576"/>
                <a:gd name="T61" fmla="*/ 258 h 366"/>
                <a:gd name="T62" fmla="*/ 37 w 576"/>
                <a:gd name="T63" fmla="*/ 260 h 366"/>
                <a:gd name="T64" fmla="*/ 18 w 576"/>
                <a:gd name="T65" fmla="*/ 314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6" h="366">
                  <a:moveTo>
                    <a:pt x="18" y="314"/>
                  </a:moveTo>
                  <a:lnTo>
                    <a:pt x="164" y="260"/>
                  </a:lnTo>
                  <a:lnTo>
                    <a:pt x="216" y="256"/>
                  </a:lnTo>
                  <a:lnTo>
                    <a:pt x="227" y="269"/>
                  </a:lnTo>
                  <a:lnTo>
                    <a:pt x="305" y="286"/>
                  </a:lnTo>
                  <a:lnTo>
                    <a:pt x="310" y="321"/>
                  </a:lnTo>
                  <a:lnTo>
                    <a:pt x="340" y="336"/>
                  </a:lnTo>
                  <a:lnTo>
                    <a:pt x="423" y="345"/>
                  </a:lnTo>
                  <a:lnTo>
                    <a:pt x="456" y="349"/>
                  </a:lnTo>
                  <a:lnTo>
                    <a:pt x="473" y="366"/>
                  </a:lnTo>
                  <a:lnTo>
                    <a:pt x="499" y="356"/>
                  </a:lnTo>
                  <a:lnTo>
                    <a:pt x="523" y="336"/>
                  </a:lnTo>
                  <a:lnTo>
                    <a:pt x="541" y="295"/>
                  </a:lnTo>
                  <a:lnTo>
                    <a:pt x="512" y="260"/>
                  </a:lnTo>
                  <a:lnTo>
                    <a:pt x="515" y="208"/>
                  </a:lnTo>
                  <a:lnTo>
                    <a:pt x="534" y="202"/>
                  </a:lnTo>
                  <a:lnTo>
                    <a:pt x="534" y="178"/>
                  </a:lnTo>
                  <a:lnTo>
                    <a:pt x="558" y="178"/>
                  </a:lnTo>
                  <a:lnTo>
                    <a:pt x="565" y="152"/>
                  </a:lnTo>
                  <a:lnTo>
                    <a:pt x="549" y="122"/>
                  </a:lnTo>
                  <a:lnTo>
                    <a:pt x="549" y="122"/>
                  </a:lnTo>
                  <a:lnTo>
                    <a:pt x="549" y="119"/>
                  </a:lnTo>
                  <a:lnTo>
                    <a:pt x="567" y="102"/>
                  </a:lnTo>
                  <a:lnTo>
                    <a:pt x="563" y="85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76" y="70"/>
                  </a:lnTo>
                  <a:lnTo>
                    <a:pt x="571" y="59"/>
                  </a:lnTo>
                  <a:lnTo>
                    <a:pt x="539" y="61"/>
                  </a:lnTo>
                  <a:lnTo>
                    <a:pt x="536" y="61"/>
                  </a:lnTo>
                  <a:lnTo>
                    <a:pt x="536" y="61"/>
                  </a:lnTo>
                  <a:lnTo>
                    <a:pt x="451" y="0"/>
                  </a:lnTo>
                  <a:lnTo>
                    <a:pt x="445" y="24"/>
                  </a:lnTo>
                  <a:lnTo>
                    <a:pt x="445" y="26"/>
                  </a:lnTo>
                  <a:lnTo>
                    <a:pt x="443" y="26"/>
                  </a:lnTo>
                  <a:lnTo>
                    <a:pt x="340" y="3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3"/>
                  </a:lnTo>
                  <a:lnTo>
                    <a:pt x="312" y="70"/>
                  </a:lnTo>
                  <a:lnTo>
                    <a:pt x="314" y="87"/>
                  </a:lnTo>
                  <a:lnTo>
                    <a:pt x="314" y="89"/>
                  </a:lnTo>
                  <a:lnTo>
                    <a:pt x="312" y="89"/>
                  </a:lnTo>
                  <a:lnTo>
                    <a:pt x="284" y="109"/>
                  </a:lnTo>
                  <a:lnTo>
                    <a:pt x="284" y="126"/>
                  </a:lnTo>
                  <a:lnTo>
                    <a:pt x="284" y="128"/>
                  </a:lnTo>
                  <a:lnTo>
                    <a:pt x="281" y="128"/>
                  </a:lnTo>
                  <a:lnTo>
                    <a:pt x="262" y="132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146" y="152"/>
                  </a:lnTo>
                  <a:lnTo>
                    <a:pt x="144" y="152"/>
                  </a:lnTo>
                  <a:lnTo>
                    <a:pt x="144" y="152"/>
                  </a:lnTo>
                  <a:lnTo>
                    <a:pt x="96" y="117"/>
                  </a:lnTo>
                  <a:lnTo>
                    <a:pt x="72" y="115"/>
                  </a:lnTo>
                  <a:lnTo>
                    <a:pt x="59" y="154"/>
                  </a:lnTo>
                  <a:lnTo>
                    <a:pt x="57" y="154"/>
                  </a:lnTo>
                  <a:lnTo>
                    <a:pt x="57" y="154"/>
                  </a:lnTo>
                  <a:lnTo>
                    <a:pt x="0" y="158"/>
                  </a:lnTo>
                  <a:lnTo>
                    <a:pt x="2" y="197"/>
                  </a:lnTo>
                  <a:lnTo>
                    <a:pt x="37" y="258"/>
                  </a:lnTo>
                  <a:lnTo>
                    <a:pt x="37" y="260"/>
                  </a:lnTo>
                  <a:lnTo>
                    <a:pt x="37" y="260"/>
                  </a:lnTo>
                  <a:lnTo>
                    <a:pt x="13" y="278"/>
                  </a:lnTo>
                  <a:lnTo>
                    <a:pt x="18" y="314"/>
                  </a:lnTo>
                  <a:lnTo>
                    <a:pt x="18" y="31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3" name="Freeform 278">
              <a:extLst>
                <a:ext uri="{FF2B5EF4-FFF2-40B4-BE49-F238E27FC236}">
                  <a16:creationId xmlns:a16="http://schemas.microsoft.com/office/drawing/2014/main" xmlns="" id="{D8DA679D-C340-487D-9963-7315CBD8E1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7" y="3158"/>
              <a:ext cx="372" cy="700"/>
            </a:xfrm>
            <a:custGeom>
              <a:avLst/>
              <a:gdLst>
                <a:gd name="T0" fmla="*/ 4 w 372"/>
                <a:gd name="T1" fmla="*/ 566 h 700"/>
                <a:gd name="T2" fmla="*/ 41 w 372"/>
                <a:gd name="T3" fmla="*/ 624 h 700"/>
                <a:gd name="T4" fmla="*/ 93 w 372"/>
                <a:gd name="T5" fmla="*/ 650 h 700"/>
                <a:gd name="T6" fmla="*/ 141 w 372"/>
                <a:gd name="T7" fmla="*/ 657 h 700"/>
                <a:gd name="T8" fmla="*/ 209 w 372"/>
                <a:gd name="T9" fmla="*/ 700 h 700"/>
                <a:gd name="T10" fmla="*/ 276 w 372"/>
                <a:gd name="T11" fmla="*/ 670 h 700"/>
                <a:gd name="T12" fmla="*/ 307 w 372"/>
                <a:gd name="T13" fmla="*/ 602 h 700"/>
                <a:gd name="T14" fmla="*/ 307 w 372"/>
                <a:gd name="T15" fmla="*/ 600 h 700"/>
                <a:gd name="T16" fmla="*/ 296 w 372"/>
                <a:gd name="T17" fmla="*/ 527 h 700"/>
                <a:gd name="T18" fmla="*/ 296 w 372"/>
                <a:gd name="T19" fmla="*/ 524 h 700"/>
                <a:gd name="T20" fmla="*/ 263 w 372"/>
                <a:gd name="T21" fmla="*/ 509 h 700"/>
                <a:gd name="T22" fmla="*/ 261 w 372"/>
                <a:gd name="T23" fmla="*/ 509 h 700"/>
                <a:gd name="T24" fmla="*/ 233 w 372"/>
                <a:gd name="T25" fmla="*/ 475 h 700"/>
                <a:gd name="T26" fmla="*/ 244 w 372"/>
                <a:gd name="T27" fmla="*/ 433 h 700"/>
                <a:gd name="T28" fmla="*/ 183 w 372"/>
                <a:gd name="T29" fmla="*/ 414 h 700"/>
                <a:gd name="T30" fmla="*/ 181 w 372"/>
                <a:gd name="T31" fmla="*/ 416 h 700"/>
                <a:gd name="T32" fmla="*/ 152 w 372"/>
                <a:gd name="T33" fmla="*/ 420 h 700"/>
                <a:gd name="T34" fmla="*/ 126 w 372"/>
                <a:gd name="T35" fmla="*/ 403 h 700"/>
                <a:gd name="T36" fmla="*/ 126 w 372"/>
                <a:gd name="T37" fmla="*/ 420 h 700"/>
                <a:gd name="T38" fmla="*/ 102 w 372"/>
                <a:gd name="T39" fmla="*/ 455 h 700"/>
                <a:gd name="T40" fmla="*/ 100 w 372"/>
                <a:gd name="T41" fmla="*/ 457 h 700"/>
                <a:gd name="T42" fmla="*/ 26 w 372"/>
                <a:gd name="T43" fmla="*/ 464 h 700"/>
                <a:gd name="T44" fmla="*/ 32 w 372"/>
                <a:gd name="T45" fmla="*/ 492 h 700"/>
                <a:gd name="T46" fmla="*/ 35 w 372"/>
                <a:gd name="T47" fmla="*/ 494 h 700"/>
                <a:gd name="T48" fmla="*/ 41 w 372"/>
                <a:gd name="T49" fmla="*/ 522 h 700"/>
                <a:gd name="T50" fmla="*/ 0 w 372"/>
                <a:gd name="T51" fmla="*/ 527 h 700"/>
                <a:gd name="T52" fmla="*/ 246 w 372"/>
                <a:gd name="T53" fmla="*/ 429 h 700"/>
                <a:gd name="T54" fmla="*/ 290 w 372"/>
                <a:gd name="T55" fmla="*/ 412 h 700"/>
                <a:gd name="T56" fmla="*/ 314 w 372"/>
                <a:gd name="T57" fmla="*/ 360 h 700"/>
                <a:gd name="T58" fmla="*/ 314 w 372"/>
                <a:gd name="T59" fmla="*/ 360 h 700"/>
                <a:gd name="T60" fmla="*/ 311 w 372"/>
                <a:gd name="T61" fmla="*/ 308 h 700"/>
                <a:gd name="T62" fmla="*/ 311 w 372"/>
                <a:gd name="T63" fmla="*/ 305 h 700"/>
                <a:gd name="T64" fmla="*/ 344 w 372"/>
                <a:gd name="T65" fmla="*/ 247 h 700"/>
                <a:gd name="T66" fmla="*/ 311 w 372"/>
                <a:gd name="T67" fmla="*/ 236 h 700"/>
                <a:gd name="T68" fmla="*/ 307 w 372"/>
                <a:gd name="T69" fmla="*/ 217 h 700"/>
                <a:gd name="T70" fmla="*/ 307 w 372"/>
                <a:gd name="T71" fmla="*/ 214 h 700"/>
                <a:gd name="T72" fmla="*/ 318 w 372"/>
                <a:gd name="T73" fmla="*/ 152 h 700"/>
                <a:gd name="T74" fmla="*/ 318 w 372"/>
                <a:gd name="T75" fmla="*/ 152 h 700"/>
                <a:gd name="T76" fmla="*/ 324 w 372"/>
                <a:gd name="T77" fmla="*/ 126 h 700"/>
                <a:gd name="T78" fmla="*/ 357 w 372"/>
                <a:gd name="T79" fmla="*/ 110 h 700"/>
                <a:gd name="T80" fmla="*/ 340 w 372"/>
                <a:gd name="T81" fmla="*/ 28 h 700"/>
                <a:gd name="T82" fmla="*/ 340 w 372"/>
                <a:gd name="T83" fmla="*/ 28 h 700"/>
                <a:gd name="T84" fmla="*/ 307 w 372"/>
                <a:gd name="T85" fmla="*/ 19 h 700"/>
                <a:gd name="T86" fmla="*/ 305 w 372"/>
                <a:gd name="T87" fmla="*/ 19 h 700"/>
                <a:gd name="T88" fmla="*/ 205 w 372"/>
                <a:gd name="T89" fmla="*/ 6 h 700"/>
                <a:gd name="T90" fmla="*/ 183 w 372"/>
                <a:gd name="T91" fmla="*/ 32 h 700"/>
                <a:gd name="T92" fmla="*/ 126 w 372"/>
                <a:gd name="T93" fmla="*/ 32 h 700"/>
                <a:gd name="T94" fmla="*/ 146 w 372"/>
                <a:gd name="T95" fmla="*/ 178 h 700"/>
                <a:gd name="T96" fmla="*/ 148 w 372"/>
                <a:gd name="T97" fmla="*/ 180 h 700"/>
                <a:gd name="T98" fmla="*/ 181 w 372"/>
                <a:gd name="T99" fmla="*/ 238 h 700"/>
                <a:gd name="T100" fmla="*/ 181 w 372"/>
                <a:gd name="T101" fmla="*/ 240 h 700"/>
                <a:gd name="T102" fmla="*/ 215 w 372"/>
                <a:gd name="T103" fmla="*/ 284 h 700"/>
                <a:gd name="T104" fmla="*/ 215 w 372"/>
                <a:gd name="T105" fmla="*/ 288 h 700"/>
                <a:gd name="T106" fmla="*/ 213 w 372"/>
                <a:gd name="T107" fmla="*/ 327 h 700"/>
                <a:gd name="T108" fmla="*/ 213 w 372"/>
                <a:gd name="T109" fmla="*/ 329 h 700"/>
                <a:gd name="T110" fmla="*/ 205 w 372"/>
                <a:gd name="T111" fmla="*/ 362 h 700"/>
                <a:gd name="T112" fmla="*/ 185 w 372"/>
                <a:gd name="T113" fmla="*/ 375 h 700"/>
                <a:gd name="T114" fmla="*/ 229 w 372"/>
                <a:gd name="T115" fmla="*/ 412 h 700"/>
                <a:gd name="T116" fmla="*/ 231 w 372"/>
                <a:gd name="T117" fmla="*/ 412 h 700"/>
                <a:gd name="T118" fmla="*/ 246 w 372"/>
                <a:gd name="T119" fmla="*/ 429 h 7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2" h="700">
                  <a:moveTo>
                    <a:pt x="0" y="527"/>
                  </a:moveTo>
                  <a:lnTo>
                    <a:pt x="4" y="566"/>
                  </a:lnTo>
                  <a:lnTo>
                    <a:pt x="41" y="585"/>
                  </a:lnTo>
                  <a:lnTo>
                    <a:pt x="41" y="624"/>
                  </a:lnTo>
                  <a:lnTo>
                    <a:pt x="78" y="631"/>
                  </a:lnTo>
                  <a:lnTo>
                    <a:pt x="93" y="650"/>
                  </a:lnTo>
                  <a:lnTo>
                    <a:pt x="133" y="628"/>
                  </a:lnTo>
                  <a:lnTo>
                    <a:pt x="141" y="657"/>
                  </a:lnTo>
                  <a:lnTo>
                    <a:pt x="167" y="696"/>
                  </a:lnTo>
                  <a:lnTo>
                    <a:pt x="209" y="700"/>
                  </a:lnTo>
                  <a:lnTo>
                    <a:pt x="222" y="672"/>
                  </a:lnTo>
                  <a:lnTo>
                    <a:pt x="276" y="670"/>
                  </a:lnTo>
                  <a:lnTo>
                    <a:pt x="311" y="644"/>
                  </a:lnTo>
                  <a:lnTo>
                    <a:pt x="307" y="602"/>
                  </a:lnTo>
                  <a:lnTo>
                    <a:pt x="307" y="602"/>
                  </a:lnTo>
                  <a:lnTo>
                    <a:pt x="307" y="600"/>
                  </a:lnTo>
                  <a:lnTo>
                    <a:pt x="331" y="585"/>
                  </a:lnTo>
                  <a:lnTo>
                    <a:pt x="296" y="527"/>
                  </a:lnTo>
                  <a:lnTo>
                    <a:pt x="296" y="527"/>
                  </a:lnTo>
                  <a:lnTo>
                    <a:pt x="296" y="524"/>
                  </a:lnTo>
                  <a:lnTo>
                    <a:pt x="294" y="488"/>
                  </a:lnTo>
                  <a:lnTo>
                    <a:pt x="263" y="509"/>
                  </a:lnTo>
                  <a:lnTo>
                    <a:pt x="261" y="511"/>
                  </a:lnTo>
                  <a:lnTo>
                    <a:pt x="261" y="509"/>
                  </a:lnTo>
                  <a:lnTo>
                    <a:pt x="235" y="475"/>
                  </a:lnTo>
                  <a:lnTo>
                    <a:pt x="233" y="475"/>
                  </a:lnTo>
                  <a:lnTo>
                    <a:pt x="233" y="472"/>
                  </a:lnTo>
                  <a:lnTo>
                    <a:pt x="244" y="433"/>
                  </a:lnTo>
                  <a:lnTo>
                    <a:pt x="229" y="416"/>
                  </a:lnTo>
                  <a:lnTo>
                    <a:pt x="183" y="414"/>
                  </a:lnTo>
                  <a:lnTo>
                    <a:pt x="183" y="414"/>
                  </a:lnTo>
                  <a:lnTo>
                    <a:pt x="181" y="416"/>
                  </a:lnTo>
                  <a:lnTo>
                    <a:pt x="152" y="420"/>
                  </a:lnTo>
                  <a:lnTo>
                    <a:pt x="152" y="420"/>
                  </a:lnTo>
                  <a:lnTo>
                    <a:pt x="150" y="420"/>
                  </a:lnTo>
                  <a:lnTo>
                    <a:pt x="126" y="403"/>
                  </a:lnTo>
                  <a:lnTo>
                    <a:pt x="126" y="420"/>
                  </a:lnTo>
                  <a:lnTo>
                    <a:pt x="126" y="420"/>
                  </a:lnTo>
                  <a:lnTo>
                    <a:pt x="126" y="423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0" y="457"/>
                  </a:lnTo>
                  <a:lnTo>
                    <a:pt x="59" y="453"/>
                  </a:lnTo>
                  <a:lnTo>
                    <a:pt x="26" y="464"/>
                  </a:lnTo>
                  <a:lnTo>
                    <a:pt x="13" y="483"/>
                  </a:lnTo>
                  <a:lnTo>
                    <a:pt x="32" y="492"/>
                  </a:lnTo>
                  <a:lnTo>
                    <a:pt x="35" y="494"/>
                  </a:lnTo>
                  <a:lnTo>
                    <a:pt x="35" y="494"/>
                  </a:lnTo>
                  <a:lnTo>
                    <a:pt x="39" y="518"/>
                  </a:lnTo>
                  <a:lnTo>
                    <a:pt x="41" y="522"/>
                  </a:lnTo>
                  <a:lnTo>
                    <a:pt x="37" y="522"/>
                  </a:lnTo>
                  <a:lnTo>
                    <a:pt x="0" y="527"/>
                  </a:lnTo>
                  <a:lnTo>
                    <a:pt x="0" y="527"/>
                  </a:lnTo>
                  <a:close/>
                  <a:moveTo>
                    <a:pt x="246" y="429"/>
                  </a:moveTo>
                  <a:lnTo>
                    <a:pt x="272" y="420"/>
                  </a:lnTo>
                  <a:lnTo>
                    <a:pt x="290" y="412"/>
                  </a:lnTo>
                  <a:lnTo>
                    <a:pt x="322" y="381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14" y="360"/>
                  </a:lnTo>
                  <a:lnTo>
                    <a:pt x="320" y="338"/>
                  </a:lnTo>
                  <a:lnTo>
                    <a:pt x="311" y="308"/>
                  </a:lnTo>
                  <a:lnTo>
                    <a:pt x="311" y="305"/>
                  </a:lnTo>
                  <a:lnTo>
                    <a:pt x="311" y="305"/>
                  </a:lnTo>
                  <a:lnTo>
                    <a:pt x="333" y="279"/>
                  </a:lnTo>
                  <a:lnTo>
                    <a:pt x="344" y="247"/>
                  </a:lnTo>
                  <a:lnTo>
                    <a:pt x="314" y="236"/>
                  </a:lnTo>
                  <a:lnTo>
                    <a:pt x="311" y="236"/>
                  </a:lnTo>
                  <a:lnTo>
                    <a:pt x="311" y="236"/>
                  </a:lnTo>
                  <a:lnTo>
                    <a:pt x="307" y="217"/>
                  </a:lnTo>
                  <a:lnTo>
                    <a:pt x="307" y="214"/>
                  </a:lnTo>
                  <a:lnTo>
                    <a:pt x="307" y="214"/>
                  </a:lnTo>
                  <a:lnTo>
                    <a:pt x="331" y="184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18" y="152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24" y="126"/>
                  </a:lnTo>
                  <a:lnTo>
                    <a:pt x="357" y="110"/>
                  </a:lnTo>
                  <a:lnTo>
                    <a:pt x="372" y="93"/>
                  </a:lnTo>
                  <a:lnTo>
                    <a:pt x="340" y="28"/>
                  </a:lnTo>
                  <a:lnTo>
                    <a:pt x="337" y="28"/>
                  </a:lnTo>
                  <a:lnTo>
                    <a:pt x="340" y="28"/>
                  </a:lnTo>
                  <a:lnTo>
                    <a:pt x="344" y="4"/>
                  </a:lnTo>
                  <a:lnTo>
                    <a:pt x="307" y="19"/>
                  </a:lnTo>
                  <a:lnTo>
                    <a:pt x="307" y="22"/>
                  </a:lnTo>
                  <a:lnTo>
                    <a:pt x="305" y="19"/>
                  </a:lnTo>
                  <a:lnTo>
                    <a:pt x="259" y="0"/>
                  </a:lnTo>
                  <a:lnTo>
                    <a:pt x="205" y="6"/>
                  </a:lnTo>
                  <a:lnTo>
                    <a:pt x="185" y="30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26" y="32"/>
                  </a:lnTo>
                  <a:lnTo>
                    <a:pt x="126" y="180"/>
                  </a:lnTo>
                  <a:lnTo>
                    <a:pt x="146" y="178"/>
                  </a:lnTo>
                  <a:lnTo>
                    <a:pt x="148" y="178"/>
                  </a:lnTo>
                  <a:lnTo>
                    <a:pt x="148" y="180"/>
                  </a:lnTo>
                  <a:lnTo>
                    <a:pt x="152" y="210"/>
                  </a:lnTo>
                  <a:lnTo>
                    <a:pt x="181" y="238"/>
                  </a:lnTo>
                  <a:lnTo>
                    <a:pt x="181" y="238"/>
                  </a:lnTo>
                  <a:lnTo>
                    <a:pt x="181" y="240"/>
                  </a:lnTo>
                  <a:lnTo>
                    <a:pt x="189" y="266"/>
                  </a:lnTo>
                  <a:lnTo>
                    <a:pt x="215" y="284"/>
                  </a:lnTo>
                  <a:lnTo>
                    <a:pt x="218" y="286"/>
                  </a:lnTo>
                  <a:lnTo>
                    <a:pt x="215" y="288"/>
                  </a:lnTo>
                  <a:lnTo>
                    <a:pt x="196" y="310"/>
                  </a:lnTo>
                  <a:lnTo>
                    <a:pt x="213" y="327"/>
                  </a:lnTo>
                  <a:lnTo>
                    <a:pt x="213" y="329"/>
                  </a:lnTo>
                  <a:lnTo>
                    <a:pt x="213" y="329"/>
                  </a:lnTo>
                  <a:lnTo>
                    <a:pt x="205" y="360"/>
                  </a:lnTo>
                  <a:lnTo>
                    <a:pt x="205" y="362"/>
                  </a:lnTo>
                  <a:lnTo>
                    <a:pt x="205" y="362"/>
                  </a:lnTo>
                  <a:lnTo>
                    <a:pt x="185" y="375"/>
                  </a:lnTo>
                  <a:lnTo>
                    <a:pt x="183" y="410"/>
                  </a:lnTo>
                  <a:lnTo>
                    <a:pt x="229" y="412"/>
                  </a:lnTo>
                  <a:lnTo>
                    <a:pt x="231" y="412"/>
                  </a:lnTo>
                  <a:lnTo>
                    <a:pt x="231" y="412"/>
                  </a:lnTo>
                  <a:lnTo>
                    <a:pt x="246" y="429"/>
                  </a:lnTo>
                  <a:lnTo>
                    <a:pt x="246" y="42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4" name="Freeform 279">
              <a:extLst>
                <a:ext uri="{FF2B5EF4-FFF2-40B4-BE49-F238E27FC236}">
                  <a16:creationId xmlns:a16="http://schemas.microsoft.com/office/drawing/2014/main" xmlns="" id="{1A9B49D5-3E81-479A-A988-5F5BD7AF0D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9" y="3310"/>
              <a:ext cx="499" cy="370"/>
            </a:xfrm>
            <a:custGeom>
              <a:avLst/>
              <a:gdLst>
                <a:gd name="T0" fmla="*/ 54 w 499"/>
                <a:gd name="T1" fmla="*/ 299 h 370"/>
                <a:gd name="T2" fmla="*/ 105 w 499"/>
                <a:gd name="T3" fmla="*/ 266 h 370"/>
                <a:gd name="T4" fmla="*/ 131 w 499"/>
                <a:gd name="T5" fmla="*/ 303 h 370"/>
                <a:gd name="T6" fmla="*/ 242 w 499"/>
                <a:gd name="T7" fmla="*/ 320 h 370"/>
                <a:gd name="T8" fmla="*/ 288 w 499"/>
                <a:gd name="T9" fmla="*/ 370 h 370"/>
                <a:gd name="T10" fmla="*/ 318 w 499"/>
                <a:gd name="T11" fmla="*/ 344 h 370"/>
                <a:gd name="T12" fmla="*/ 294 w 499"/>
                <a:gd name="T13" fmla="*/ 331 h 370"/>
                <a:gd name="T14" fmla="*/ 309 w 499"/>
                <a:gd name="T15" fmla="*/ 310 h 370"/>
                <a:gd name="T16" fmla="*/ 312 w 499"/>
                <a:gd name="T17" fmla="*/ 307 h 370"/>
                <a:gd name="T18" fmla="*/ 347 w 499"/>
                <a:gd name="T19" fmla="*/ 297 h 370"/>
                <a:gd name="T20" fmla="*/ 388 w 499"/>
                <a:gd name="T21" fmla="*/ 301 h 370"/>
                <a:gd name="T22" fmla="*/ 412 w 499"/>
                <a:gd name="T23" fmla="*/ 247 h 370"/>
                <a:gd name="T24" fmla="*/ 414 w 499"/>
                <a:gd name="T25" fmla="*/ 245 h 370"/>
                <a:gd name="T26" fmla="*/ 466 w 499"/>
                <a:gd name="T27" fmla="*/ 260 h 370"/>
                <a:gd name="T28" fmla="*/ 469 w 499"/>
                <a:gd name="T29" fmla="*/ 221 h 370"/>
                <a:gd name="T30" fmla="*/ 490 w 499"/>
                <a:gd name="T31" fmla="*/ 208 h 370"/>
                <a:gd name="T32" fmla="*/ 479 w 499"/>
                <a:gd name="T33" fmla="*/ 160 h 370"/>
                <a:gd name="T34" fmla="*/ 479 w 499"/>
                <a:gd name="T35" fmla="*/ 158 h 370"/>
                <a:gd name="T36" fmla="*/ 475 w 499"/>
                <a:gd name="T37" fmla="*/ 117 h 370"/>
                <a:gd name="T38" fmla="*/ 475 w 499"/>
                <a:gd name="T39" fmla="*/ 117 h 370"/>
                <a:gd name="T40" fmla="*/ 436 w 499"/>
                <a:gd name="T41" fmla="*/ 60 h 370"/>
                <a:gd name="T42" fmla="*/ 436 w 499"/>
                <a:gd name="T43" fmla="*/ 58 h 370"/>
                <a:gd name="T44" fmla="*/ 412 w 499"/>
                <a:gd name="T45" fmla="*/ 32 h 370"/>
                <a:gd name="T46" fmla="*/ 386 w 499"/>
                <a:gd name="T47" fmla="*/ 56 h 370"/>
                <a:gd name="T48" fmla="*/ 336 w 499"/>
                <a:gd name="T49" fmla="*/ 52 h 370"/>
                <a:gd name="T50" fmla="*/ 320 w 499"/>
                <a:gd name="T51" fmla="*/ 65 h 370"/>
                <a:gd name="T52" fmla="*/ 305 w 499"/>
                <a:gd name="T53" fmla="*/ 52 h 370"/>
                <a:gd name="T54" fmla="*/ 259 w 499"/>
                <a:gd name="T55" fmla="*/ 93 h 370"/>
                <a:gd name="T56" fmla="*/ 227 w 499"/>
                <a:gd name="T57" fmla="*/ 60 h 370"/>
                <a:gd name="T58" fmla="*/ 224 w 499"/>
                <a:gd name="T59" fmla="*/ 60 h 370"/>
                <a:gd name="T60" fmla="*/ 192 w 499"/>
                <a:gd name="T61" fmla="*/ 0 h 370"/>
                <a:gd name="T62" fmla="*/ 78 w 499"/>
                <a:gd name="T63" fmla="*/ 39 h 370"/>
                <a:gd name="T64" fmla="*/ 54 w 499"/>
                <a:gd name="T65" fmla="*/ 28 h 370"/>
                <a:gd name="T66" fmla="*/ 41 w 499"/>
                <a:gd name="T67" fmla="*/ 36 h 370"/>
                <a:gd name="T68" fmla="*/ 24 w 499"/>
                <a:gd name="T69" fmla="*/ 23 h 370"/>
                <a:gd name="T70" fmla="*/ 0 w 499"/>
                <a:gd name="T71" fmla="*/ 36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99" h="370">
                  <a:moveTo>
                    <a:pt x="0" y="36"/>
                  </a:moveTo>
                  <a:lnTo>
                    <a:pt x="54" y="299"/>
                  </a:lnTo>
                  <a:lnTo>
                    <a:pt x="85" y="294"/>
                  </a:lnTo>
                  <a:lnTo>
                    <a:pt x="105" y="266"/>
                  </a:lnTo>
                  <a:lnTo>
                    <a:pt x="124" y="273"/>
                  </a:lnTo>
                  <a:lnTo>
                    <a:pt x="131" y="303"/>
                  </a:lnTo>
                  <a:lnTo>
                    <a:pt x="194" y="338"/>
                  </a:lnTo>
                  <a:lnTo>
                    <a:pt x="242" y="320"/>
                  </a:lnTo>
                  <a:lnTo>
                    <a:pt x="268" y="331"/>
                  </a:lnTo>
                  <a:lnTo>
                    <a:pt x="288" y="370"/>
                  </a:lnTo>
                  <a:lnTo>
                    <a:pt x="323" y="366"/>
                  </a:lnTo>
                  <a:lnTo>
                    <a:pt x="318" y="344"/>
                  </a:lnTo>
                  <a:lnTo>
                    <a:pt x="296" y="333"/>
                  </a:lnTo>
                  <a:lnTo>
                    <a:pt x="294" y="331"/>
                  </a:lnTo>
                  <a:lnTo>
                    <a:pt x="294" y="329"/>
                  </a:lnTo>
                  <a:lnTo>
                    <a:pt x="309" y="310"/>
                  </a:lnTo>
                  <a:lnTo>
                    <a:pt x="312" y="310"/>
                  </a:lnTo>
                  <a:lnTo>
                    <a:pt x="312" y="30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47" y="297"/>
                  </a:lnTo>
                  <a:lnTo>
                    <a:pt x="388" y="301"/>
                  </a:lnTo>
                  <a:lnTo>
                    <a:pt x="410" y="268"/>
                  </a:lnTo>
                  <a:lnTo>
                    <a:pt x="412" y="247"/>
                  </a:lnTo>
                  <a:lnTo>
                    <a:pt x="412" y="242"/>
                  </a:lnTo>
                  <a:lnTo>
                    <a:pt x="414" y="245"/>
                  </a:lnTo>
                  <a:lnTo>
                    <a:pt x="440" y="264"/>
                  </a:lnTo>
                  <a:lnTo>
                    <a:pt x="466" y="260"/>
                  </a:lnTo>
                  <a:lnTo>
                    <a:pt x="469" y="221"/>
                  </a:lnTo>
                  <a:lnTo>
                    <a:pt x="469" y="221"/>
                  </a:lnTo>
                  <a:lnTo>
                    <a:pt x="469" y="218"/>
                  </a:lnTo>
                  <a:lnTo>
                    <a:pt x="490" y="208"/>
                  </a:lnTo>
                  <a:lnTo>
                    <a:pt x="497" y="177"/>
                  </a:lnTo>
                  <a:lnTo>
                    <a:pt x="479" y="160"/>
                  </a:lnTo>
                  <a:lnTo>
                    <a:pt x="479" y="158"/>
                  </a:lnTo>
                  <a:lnTo>
                    <a:pt x="479" y="158"/>
                  </a:lnTo>
                  <a:lnTo>
                    <a:pt x="499" y="134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75" y="117"/>
                  </a:lnTo>
                  <a:lnTo>
                    <a:pt x="464" y="91"/>
                  </a:lnTo>
                  <a:lnTo>
                    <a:pt x="436" y="60"/>
                  </a:lnTo>
                  <a:lnTo>
                    <a:pt x="436" y="58"/>
                  </a:lnTo>
                  <a:lnTo>
                    <a:pt x="436" y="58"/>
                  </a:lnTo>
                  <a:lnTo>
                    <a:pt x="432" y="30"/>
                  </a:lnTo>
                  <a:lnTo>
                    <a:pt x="412" y="32"/>
                  </a:lnTo>
                  <a:lnTo>
                    <a:pt x="388" y="56"/>
                  </a:lnTo>
                  <a:lnTo>
                    <a:pt x="386" y="56"/>
                  </a:lnTo>
                  <a:lnTo>
                    <a:pt x="386" y="56"/>
                  </a:lnTo>
                  <a:lnTo>
                    <a:pt x="336" y="52"/>
                  </a:lnTo>
                  <a:lnTo>
                    <a:pt x="323" y="62"/>
                  </a:lnTo>
                  <a:lnTo>
                    <a:pt x="320" y="65"/>
                  </a:lnTo>
                  <a:lnTo>
                    <a:pt x="318" y="62"/>
                  </a:lnTo>
                  <a:lnTo>
                    <a:pt x="305" y="52"/>
                  </a:lnTo>
                  <a:lnTo>
                    <a:pt x="262" y="93"/>
                  </a:lnTo>
                  <a:lnTo>
                    <a:pt x="259" y="93"/>
                  </a:lnTo>
                  <a:lnTo>
                    <a:pt x="259" y="93"/>
                  </a:lnTo>
                  <a:lnTo>
                    <a:pt x="227" y="60"/>
                  </a:lnTo>
                  <a:lnTo>
                    <a:pt x="224" y="60"/>
                  </a:lnTo>
                  <a:lnTo>
                    <a:pt x="224" y="60"/>
                  </a:lnTo>
                  <a:lnTo>
                    <a:pt x="220" y="34"/>
                  </a:lnTo>
                  <a:lnTo>
                    <a:pt x="192" y="0"/>
                  </a:lnTo>
                  <a:lnTo>
                    <a:pt x="81" y="36"/>
                  </a:lnTo>
                  <a:lnTo>
                    <a:pt x="78" y="39"/>
                  </a:lnTo>
                  <a:lnTo>
                    <a:pt x="78" y="36"/>
                  </a:lnTo>
                  <a:lnTo>
                    <a:pt x="54" y="28"/>
                  </a:lnTo>
                  <a:lnTo>
                    <a:pt x="44" y="34"/>
                  </a:lnTo>
                  <a:lnTo>
                    <a:pt x="41" y="36"/>
                  </a:lnTo>
                  <a:lnTo>
                    <a:pt x="41" y="34"/>
                  </a:lnTo>
                  <a:lnTo>
                    <a:pt x="24" y="23"/>
                  </a:lnTo>
                  <a:lnTo>
                    <a:pt x="0" y="36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5" name="Freeform 280">
              <a:extLst>
                <a:ext uri="{FF2B5EF4-FFF2-40B4-BE49-F238E27FC236}">
                  <a16:creationId xmlns:a16="http://schemas.microsoft.com/office/drawing/2014/main" xmlns="" id="{F9FB1FD6-B4B0-4990-AE40-A08DBB5CA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04" y="2976"/>
              <a:ext cx="495" cy="422"/>
            </a:xfrm>
            <a:custGeom>
              <a:avLst/>
              <a:gdLst>
                <a:gd name="T0" fmla="*/ 0 w 495"/>
                <a:gd name="T1" fmla="*/ 260 h 422"/>
                <a:gd name="T2" fmla="*/ 59 w 495"/>
                <a:gd name="T3" fmla="*/ 262 h 422"/>
                <a:gd name="T4" fmla="*/ 35 w 495"/>
                <a:gd name="T5" fmla="*/ 286 h 422"/>
                <a:gd name="T6" fmla="*/ 83 w 495"/>
                <a:gd name="T7" fmla="*/ 366 h 422"/>
                <a:gd name="T8" fmla="*/ 107 w 495"/>
                <a:gd name="T9" fmla="*/ 353 h 422"/>
                <a:gd name="T10" fmla="*/ 109 w 495"/>
                <a:gd name="T11" fmla="*/ 353 h 422"/>
                <a:gd name="T12" fmla="*/ 109 w 495"/>
                <a:gd name="T13" fmla="*/ 353 h 422"/>
                <a:gd name="T14" fmla="*/ 126 w 495"/>
                <a:gd name="T15" fmla="*/ 364 h 422"/>
                <a:gd name="T16" fmla="*/ 137 w 495"/>
                <a:gd name="T17" fmla="*/ 357 h 422"/>
                <a:gd name="T18" fmla="*/ 139 w 495"/>
                <a:gd name="T19" fmla="*/ 355 h 422"/>
                <a:gd name="T20" fmla="*/ 139 w 495"/>
                <a:gd name="T21" fmla="*/ 357 h 422"/>
                <a:gd name="T22" fmla="*/ 163 w 495"/>
                <a:gd name="T23" fmla="*/ 366 h 422"/>
                <a:gd name="T24" fmla="*/ 277 w 495"/>
                <a:gd name="T25" fmla="*/ 329 h 422"/>
                <a:gd name="T26" fmla="*/ 279 w 495"/>
                <a:gd name="T27" fmla="*/ 327 h 422"/>
                <a:gd name="T28" fmla="*/ 279 w 495"/>
                <a:gd name="T29" fmla="*/ 329 h 422"/>
                <a:gd name="T30" fmla="*/ 307 w 495"/>
                <a:gd name="T31" fmla="*/ 366 h 422"/>
                <a:gd name="T32" fmla="*/ 307 w 495"/>
                <a:gd name="T33" fmla="*/ 368 h 422"/>
                <a:gd name="T34" fmla="*/ 307 w 495"/>
                <a:gd name="T35" fmla="*/ 368 h 422"/>
                <a:gd name="T36" fmla="*/ 314 w 495"/>
                <a:gd name="T37" fmla="*/ 392 h 422"/>
                <a:gd name="T38" fmla="*/ 344 w 495"/>
                <a:gd name="T39" fmla="*/ 422 h 422"/>
                <a:gd name="T40" fmla="*/ 388 w 495"/>
                <a:gd name="T41" fmla="*/ 381 h 422"/>
                <a:gd name="T42" fmla="*/ 388 w 495"/>
                <a:gd name="T43" fmla="*/ 379 h 422"/>
                <a:gd name="T44" fmla="*/ 390 w 495"/>
                <a:gd name="T45" fmla="*/ 381 h 422"/>
                <a:gd name="T46" fmla="*/ 405 w 495"/>
                <a:gd name="T47" fmla="*/ 392 h 422"/>
                <a:gd name="T48" fmla="*/ 421 w 495"/>
                <a:gd name="T49" fmla="*/ 381 h 422"/>
                <a:gd name="T50" fmla="*/ 421 w 495"/>
                <a:gd name="T51" fmla="*/ 381 h 422"/>
                <a:gd name="T52" fmla="*/ 421 w 495"/>
                <a:gd name="T53" fmla="*/ 381 h 422"/>
                <a:gd name="T54" fmla="*/ 471 w 495"/>
                <a:gd name="T55" fmla="*/ 386 h 422"/>
                <a:gd name="T56" fmla="*/ 495 w 495"/>
                <a:gd name="T57" fmla="*/ 364 h 422"/>
                <a:gd name="T58" fmla="*/ 495 w 495"/>
                <a:gd name="T59" fmla="*/ 214 h 422"/>
                <a:gd name="T60" fmla="*/ 475 w 495"/>
                <a:gd name="T61" fmla="*/ 214 h 422"/>
                <a:gd name="T62" fmla="*/ 449 w 495"/>
                <a:gd name="T63" fmla="*/ 236 h 422"/>
                <a:gd name="T64" fmla="*/ 447 w 495"/>
                <a:gd name="T65" fmla="*/ 238 h 422"/>
                <a:gd name="T66" fmla="*/ 445 w 495"/>
                <a:gd name="T67" fmla="*/ 236 h 422"/>
                <a:gd name="T68" fmla="*/ 434 w 495"/>
                <a:gd name="T69" fmla="*/ 221 h 422"/>
                <a:gd name="T70" fmla="*/ 434 w 495"/>
                <a:gd name="T71" fmla="*/ 221 h 422"/>
                <a:gd name="T72" fmla="*/ 434 w 495"/>
                <a:gd name="T73" fmla="*/ 219 h 422"/>
                <a:gd name="T74" fmla="*/ 436 w 495"/>
                <a:gd name="T75" fmla="*/ 162 h 422"/>
                <a:gd name="T76" fmla="*/ 355 w 495"/>
                <a:gd name="T77" fmla="*/ 160 h 422"/>
                <a:gd name="T78" fmla="*/ 353 w 495"/>
                <a:gd name="T79" fmla="*/ 160 h 422"/>
                <a:gd name="T80" fmla="*/ 353 w 495"/>
                <a:gd name="T81" fmla="*/ 160 h 422"/>
                <a:gd name="T82" fmla="*/ 338 w 495"/>
                <a:gd name="T83" fmla="*/ 132 h 422"/>
                <a:gd name="T84" fmla="*/ 296 w 495"/>
                <a:gd name="T85" fmla="*/ 134 h 422"/>
                <a:gd name="T86" fmla="*/ 294 w 495"/>
                <a:gd name="T87" fmla="*/ 134 h 422"/>
                <a:gd name="T88" fmla="*/ 294 w 495"/>
                <a:gd name="T89" fmla="*/ 132 h 422"/>
                <a:gd name="T90" fmla="*/ 286 w 495"/>
                <a:gd name="T91" fmla="*/ 102 h 422"/>
                <a:gd name="T92" fmla="*/ 259 w 495"/>
                <a:gd name="T93" fmla="*/ 67 h 422"/>
                <a:gd name="T94" fmla="*/ 116 w 495"/>
                <a:gd name="T95" fmla="*/ 0 h 422"/>
                <a:gd name="T96" fmla="*/ 116 w 495"/>
                <a:gd name="T97" fmla="*/ 45 h 422"/>
                <a:gd name="T98" fmla="*/ 116 w 495"/>
                <a:gd name="T99" fmla="*/ 48 h 422"/>
                <a:gd name="T100" fmla="*/ 113 w 495"/>
                <a:gd name="T101" fmla="*/ 48 h 422"/>
                <a:gd name="T102" fmla="*/ 87 w 495"/>
                <a:gd name="T103" fmla="*/ 63 h 422"/>
                <a:gd name="T104" fmla="*/ 96 w 495"/>
                <a:gd name="T105" fmla="*/ 93 h 422"/>
                <a:gd name="T106" fmla="*/ 96 w 495"/>
                <a:gd name="T107" fmla="*/ 95 h 422"/>
                <a:gd name="T108" fmla="*/ 94 w 495"/>
                <a:gd name="T109" fmla="*/ 95 h 422"/>
                <a:gd name="T110" fmla="*/ 59 w 495"/>
                <a:gd name="T111" fmla="*/ 93 h 422"/>
                <a:gd name="T112" fmla="*/ 31 w 495"/>
                <a:gd name="T113" fmla="*/ 106 h 422"/>
                <a:gd name="T114" fmla="*/ 15 w 495"/>
                <a:gd name="T115" fmla="*/ 134 h 422"/>
                <a:gd name="T116" fmla="*/ 17 w 495"/>
                <a:gd name="T117" fmla="*/ 214 h 422"/>
                <a:gd name="T118" fmla="*/ 17 w 495"/>
                <a:gd name="T119" fmla="*/ 217 h 422"/>
                <a:gd name="T120" fmla="*/ 17 w 495"/>
                <a:gd name="T121" fmla="*/ 217 h 422"/>
                <a:gd name="T122" fmla="*/ 0 w 495"/>
                <a:gd name="T123" fmla="*/ 260 h 422"/>
                <a:gd name="T124" fmla="*/ 0 w 495"/>
                <a:gd name="T125" fmla="*/ 260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95" h="422">
                  <a:moveTo>
                    <a:pt x="0" y="260"/>
                  </a:moveTo>
                  <a:lnTo>
                    <a:pt x="59" y="262"/>
                  </a:lnTo>
                  <a:lnTo>
                    <a:pt x="35" y="286"/>
                  </a:lnTo>
                  <a:lnTo>
                    <a:pt x="83" y="366"/>
                  </a:lnTo>
                  <a:lnTo>
                    <a:pt x="107" y="353"/>
                  </a:lnTo>
                  <a:lnTo>
                    <a:pt x="109" y="353"/>
                  </a:lnTo>
                  <a:lnTo>
                    <a:pt x="109" y="353"/>
                  </a:lnTo>
                  <a:lnTo>
                    <a:pt x="126" y="364"/>
                  </a:lnTo>
                  <a:lnTo>
                    <a:pt x="137" y="357"/>
                  </a:lnTo>
                  <a:lnTo>
                    <a:pt x="139" y="355"/>
                  </a:lnTo>
                  <a:lnTo>
                    <a:pt x="139" y="357"/>
                  </a:lnTo>
                  <a:lnTo>
                    <a:pt x="163" y="366"/>
                  </a:lnTo>
                  <a:lnTo>
                    <a:pt x="277" y="329"/>
                  </a:lnTo>
                  <a:lnTo>
                    <a:pt x="279" y="327"/>
                  </a:lnTo>
                  <a:lnTo>
                    <a:pt x="279" y="329"/>
                  </a:lnTo>
                  <a:lnTo>
                    <a:pt x="307" y="366"/>
                  </a:lnTo>
                  <a:lnTo>
                    <a:pt x="307" y="368"/>
                  </a:lnTo>
                  <a:lnTo>
                    <a:pt x="307" y="368"/>
                  </a:lnTo>
                  <a:lnTo>
                    <a:pt x="314" y="392"/>
                  </a:lnTo>
                  <a:lnTo>
                    <a:pt x="344" y="422"/>
                  </a:lnTo>
                  <a:lnTo>
                    <a:pt x="388" y="381"/>
                  </a:lnTo>
                  <a:lnTo>
                    <a:pt x="388" y="379"/>
                  </a:lnTo>
                  <a:lnTo>
                    <a:pt x="390" y="381"/>
                  </a:lnTo>
                  <a:lnTo>
                    <a:pt x="405" y="392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21" y="381"/>
                  </a:lnTo>
                  <a:lnTo>
                    <a:pt x="471" y="386"/>
                  </a:lnTo>
                  <a:lnTo>
                    <a:pt x="495" y="364"/>
                  </a:lnTo>
                  <a:lnTo>
                    <a:pt x="495" y="214"/>
                  </a:lnTo>
                  <a:lnTo>
                    <a:pt x="475" y="214"/>
                  </a:lnTo>
                  <a:lnTo>
                    <a:pt x="449" y="236"/>
                  </a:lnTo>
                  <a:lnTo>
                    <a:pt x="447" y="238"/>
                  </a:lnTo>
                  <a:lnTo>
                    <a:pt x="445" y="236"/>
                  </a:lnTo>
                  <a:lnTo>
                    <a:pt x="434" y="221"/>
                  </a:lnTo>
                  <a:lnTo>
                    <a:pt x="434" y="221"/>
                  </a:lnTo>
                  <a:lnTo>
                    <a:pt x="434" y="219"/>
                  </a:lnTo>
                  <a:lnTo>
                    <a:pt x="436" y="162"/>
                  </a:lnTo>
                  <a:lnTo>
                    <a:pt x="355" y="160"/>
                  </a:lnTo>
                  <a:lnTo>
                    <a:pt x="353" y="160"/>
                  </a:lnTo>
                  <a:lnTo>
                    <a:pt x="353" y="160"/>
                  </a:lnTo>
                  <a:lnTo>
                    <a:pt x="338" y="132"/>
                  </a:lnTo>
                  <a:lnTo>
                    <a:pt x="296" y="134"/>
                  </a:lnTo>
                  <a:lnTo>
                    <a:pt x="294" y="134"/>
                  </a:lnTo>
                  <a:lnTo>
                    <a:pt x="294" y="132"/>
                  </a:lnTo>
                  <a:lnTo>
                    <a:pt x="286" y="102"/>
                  </a:lnTo>
                  <a:lnTo>
                    <a:pt x="259" y="67"/>
                  </a:lnTo>
                  <a:lnTo>
                    <a:pt x="116" y="0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3" y="48"/>
                  </a:lnTo>
                  <a:lnTo>
                    <a:pt x="87" y="63"/>
                  </a:lnTo>
                  <a:lnTo>
                    <a:pt x="96" y="93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59" y="93"/>
                  </a:lnTo>
                  <a:lnTo>
                    <a:pt x="31" y="106"/>
                  </a:lnTo>
                  <a:lnTo>
                    <a:pt x="15" y="134"/>
                  </a:lnTo>
                  <a:lnTo>
                    <a:pt x="17" y="214"/>
                  </a:lnTo>
                  <a:lnTo>
                    <a:pt x="17" y="217"/>
                  </a:lnTo>
                  <a:lnTo>
                    <a:pt x="17" y="217"/>
                  </a:lnTo>
                  <a:lnTo>
                    <a:pt x="0" y="260"/>
                  </a:lnTo>
                  <a:lnTo>
                    <a:pt x="0" y="26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6" name="Freeform 281">
              <a:extLst>
                <a:ext uri="{FF2B5EF4-FFF2-40B4-BE49-F238E27FC236}">
                  <a16:creationId xmlns:a16="http://schemas.microsoft.com/office/drawing/2014/main" xmlns="" id="{237C8A45-4B10-4B4C-BE5D-5C689649B5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3" y="2781"/>
              <a:ext cx="342" cy="483"/>
            </a:xfrm>
            <a:custGeom>
              <a:avLst/>
              <a:gdLst>
                <a:gd name="T0" fmla="*/ 26 w 342"/>
                <a:gd name="T1" fmla="*/ 269 h 483"/>
                <a:gd name="T2" fmla="*/ 15 w 342"/>
                <a:gd name="T3" fmla="*/ 310 h 483"/>
                <a:gd name="T4" fmla="*/ 0 w 342"/>
                <a:gd name="T5" fmla="*/ 357 h 483"/>
                <a:gd name="T6" fmla="*/ 54 w 342"/>
                <a:gd name="T7" fmla="*/ 388 h 483"/>
                <a:gd name="T8" fmla="*/ 81 w 342"/>
                <a:gd name="T9" fmla="*/ 414 h 483"/>
                <a:gd name="T10" fmla="*/ 116 w 342"/>
                <a:gd name="T11" fmla="*/ 440 h 483"/>
                <a:gd name="T12" fmla="*/ 89 w 342"/>
                <a:gd name="T13" fmla="*/ 479 h 483"/>
                <a:gd name="T14" fmla="*/ 139 w 342"/>
                <a:gd name="T15" fmla="*/ 483 h 483"/>
                <a:gd name="T16" fmla="*/ 177 w 342"/>
                <a:gd name="T17" fmla="*/ 464 h 483"/>
                <a:gd name="T18" fmla="*/ 244 w 342"/>
                <a:gd name="T19" fmla="*/ 409 h 483"/>
                <a:gd name="T20" fmla="*/ 242 w 342"/>
                <a:gd name="T21" fmla="*/ 327 h 483"/>
                <a:gd name="T22" fmla="*/ 259 w 342"/>
                <a:gd name="T23" fmla="*/ 297 h 483"/>
                <a:gd name="T24" fmla="*/ 259 w 342"/>
                <a:gd name="T25" fmla="*/ 297 h 483"/>
                <a:gd name="T26" fmla="*/ 288 w 342"/>
                <a:gd name="T27" fmla="*/ 284 h 483"/>
                <a:gd name="T28" fmla="*/ 320 w 342"/>
                <a:gd name="T29" fmla="*/ 286 h 483"/>
                <a:gd name="T30" fmla="*/ 314 w 342"/>
                <a:gd name="T31" fmla="*/ 256 h 483"/>
                <a:gd name="T32" fmla="*/ 342 w 342"/>
                <a:gd name="T33" fmla="*/ 240 h 483"/>
                <a:gd name="T34" fmla="*/ 323 w 342"/>
                <a:gd name="T35" fmla="*/ 104 h 483"/>
                <a:gd name="T36" fmla="*/ 323 w 342"/>
                <a:gd name="T37" fmla="*/ 102 h 483"/>
                <a:gd name="T38" fmla="*/ 342 w 342"/>
                <a:gd name="T39" fmla="*/ 61 h 483"/>
                <a:gd name="T40" fmla="*/ 303 w 342"/>
                <a:gd name="T41" fmla="*/ 87 h 483"/>
                <a:gd name="T42" fmla="*/ 272 w 342"/>
                <a:gd name="T43" fmla="*/ 87 h 483"/>
                <a:gd name="T44" fmla="*/ 270 w 342"/>
                <a:gd name="T45" fmla="*/ 87 h 483"/>
                <a:gd name="T46" fmla="*/ 211 w 342"/>
                <a:gd name="T47" fmla="*/ 74 h 483"/>
                <a:gd name="T48" fmla="*/ 209 w 342"/>
                <a:gd name="T49" fmla="*/ 74 h 483"/>
                <a:gd name="T50" fmla="*/ 150 w 342"/>
                <a:gd name="T51" fmla="*/ 41 h 483"/>
                <a:gd name="T52" fmla="*/ 148 w 342"/>
                <a:gd name="T53" fmla="*/ 39 h 483"/>
                <a:gd name="T54" fmla="*/ 142 w 342"/>
                <a:gd name="T55" fmla="*/ 0 h 483"/>
                <a:gd name="T56" fmla="*/ 100 w 342"/>
                <a:gd name="T57" fmla="*/ 71 h 483"/>
                <a:gd name="T58" fmla="*/ 100 w 342"/>
                <a:gd name="T59" fmla="*/ 74 h 483"/>
                <a:gd name="T60" fmla="*/ 92 w 342"/>
                <a:gd name="T61" fmla="*/ 97 h 483"/>
                <a:gd name="T62" fmla="*/ 116 w 342"/>
                <a:gd name="T63" fmla="*/ 106 h 483"/>
                <a:gd name="T64" fmla="*/ 124 w 342"/>
                <a:gd name="T65" fmla="*/ 130 h 483"/>
                <a:gd name="T66" fmla="*/ 124 w 342"/>
                <a:gd name="T67" fmla="*/ 130 h 483"/>
                <a:gd name="T68" fmla="*/ 120 w 342"/>
                <a:gd name="T69" fmla="*/ 152 h 483"/>
                <a:gd name="T70" fmla="*/ 111 w 342"/>
                <a:gd name="T71" fmla="*/ 165 h 483"/>
                <a:gd name="T72" fmla="*/ 109 w 342"/>
                <a:gd name="T73" fmla="*/ 167 h 483"/>
                <a:gd name="T74" fmla="*/ 59 w 342"/>
                <a:gd name="T75" fmla="*/ 184 h 483"/>
                <a:gd name="T76" fmla="*/ 54 w 342"/>
                <a:gd name="T77" fmla="*/ 212 h 483"/>
                <a:gd name="T78" fmla="*/ 15 w 342"/>
                <a:gd name="T79" fmla="*/ 247 h 483"/>
                <a:gd name="T80" fmla="*/ 9 w 342"/>
                <a:gd name="T81" fmla="*/ 264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2" h="483">
                  <a:moveTo>
                    <a:pt x="9" y="264"/>
                  </a:moveTo>
                  <a:lnTo>
                    <a:pt x="26" y="269"/>
                  </a:lnTo>
                  <a:lnTo>
                    <a:pt x="26" y="299"/>
                  </a:lnTo>
                  <a:lnTo>
                    <a:pt x="15" y="310"/>
                  </a:lnTo>
                  <a:lnTo>
                    <a:pt x="24" y="331"/>
                  </a:lnTo>
                  <a:lnTo>
                    <a:pt x="0" y="357"/>
                  </a:lnTo>
                  <a:lnTo>
                    <a:pt x="4" y="377"/>
                  </a:lnTo>
                  <a:lnTo>
                    <a:pt x="54" y="388"/>
                  </a:lnTo>
                  <a:lnTo>
                    <a:pt x="57" y="414"/>
                  </a:lnTo>
                  <a:lnTo>
                    <a:pt x="81" y="414"/>
                  </a:lnTo>
                  <a:lnTo>
                    <a:pt x="98" y="418"/>
                  </a:lnTo>
                  <a:lnTo>
                    <a:pt x="116" y="440"/>
                  </a:lnTo>
                  <a:lnTo>
                    <a:pt x="89" y="461"/>
                  </a:lnTo>
                  <a:lnTo>
                    <a:pt x="89" y="479"/>
                  </a:lnTo>
                  <a:lnTo>
                    <a:pt x="116" y="470"/>
                  </a:lnTo>
                  <a:lnTo>
                    <a:pt x="139" y="483"/>
                  </a:lnTo>
                  <a:lnTo>
                    <a:pt x="159" y="479"/>
                  </a:lnTo>
                  <a:lnTo>
                    <a:pt x="177" y="464"/>
                  </a:lnTo>
                  <a:lnTo>
                    <a:pt x="227" y="455"/>
                  </a:lnTo>
                  <a:lnTo>
                    <a:pt x="244" y="409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42" y="32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59" y="297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288" y="284"/>
                  </a:lnTo>
                  <a:lnTo>
                    <a:pt x="320" y="286"/>
                  </a:lnTo>
                  <a:lnTo>
                    <a:pt x="314" y="258"/>
                  </a:lnTo>
                  <a:lnTo>
                    <a:pt x="314" y="256"/>
                  </a:lnTo>
                  <a:lnTo>
                    <a:pt x="314" y="256"/>
                  </a:lnTo>
                  <a:lnTo>
                    <a:pt x="342" y="240"/>
                  </a:lnTo>
                  <a:lnTo>
                    <a:pt x="342" y="126"/>
                  </a:lnTo>
                  <a:lnTo>
                    <a:pt x="323" y="104"/>
                  </a:lnTo>
                  <a:lnTo>
                    <a:pt x="320" y="104"/>
                  </a:lnTo>
                  <a:lnTo>
                    <a:pt x="323" y="102"/>
                  </a:lnTo>
                  <a:lnTo>
                    <a:pt x="342" y="76"/>
                  </a:lnTo>
                  <a:lnTo>
                    <a:pt x="342" y="61"/>
                  </a:lnTo>
                  <a:lnTo>
                    <a:pt x="303" y="87"/>
                  </a:lnTo>
                  <a:lnTo>
                    <a:pt x="303" y="87"/>
                  </a:lnTo>
                  <a:lnTo>
                    <a:pt x="301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0" y="87"/>
                  </a:lnTo>
                  <a:lnTo>
                    <a:pt x="242" y="69"/>
                  </a:lnTo>
                  <a:lnTo>
                    <a:pt x="211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168" y="45"/>
                  </a:lnTo>
                  <a:lnTo>
                    <a:pt x="150" y="41"/>
                  </a:lnTo>
                  <a:lnTo>
                    <a:pt x="146" y="41"/>
                  </a:lnTo>
                  <a:lnTo>
                    <a:pt x="148" y="39"/>
                  </a:lnTo>
                  <a:lnTo>
                    <a:pt x="161" y="19"/>
                  </a:lnTo>
                  <a:lnTo>
                    <a:pt x="142" y="0"/>
                  </a:lnTo>
                  <a:lnTo>
                    <a:pt x="105" y="37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4"/>
                  </a:lnTo>
                  <a:lnTo>
                    <a:pt x="89" y="87"/>
                  </a:lnTo>
                  <a:lnTo>
                    <a:pt x="92" y="97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16" y="106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4" y="130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20" y="152"/>
                  </a:lnTo>
                  <a:lnTo>
                    <a:pt x="111" y="165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81" y="160"/>
                  </a:lnTo>
                  <a:lnTo>
                    <a:pt x="59" y="184"/>
                  </a:lnTo>
                  <a:lnTo>
                    <a:pt x="54" y="210"/>
                  </a:lnTo>
                  <a:lnTo>
                    <a:pt x="54" y="212"/>
                  </a:lnTo>
                  <a:lnTo>
                    <a:pt x="52" y="212"/>
                  </a:lnTo>
                  <a:lnTo>
                    <a:pt x="15" y="247"/>
                  </a:lnTo>
                  <a:lnTo>
                    <a:pt x="9" y="264"/>
                  </a:lnTo>
                  <a:lnTo>
                    <a:pt x="9" y="26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7" name="Freeform 282">
              <a:extLst>
                <a:ext uri="{FF2B5EF4-FFF2-40B4-BE49-F238E27FC236}">
                  <a16:creationId xmlns:a16="http://schemas.microsoft.com/office/drawing/2014/main" xmlns="" id="{53B0A901-2D01-491F-AB15-72C21550AE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0" y="2679"/>
              <a:ext cx="669" cy="529"/>
            </a:xfrm>
            <a:custGeom>
              <a:avLst/>
              <a:gdLst>
                <a:gd name="T0" fmla="*/ 444 w 669"/>
                <a:gd name="T1" fmla="*/ 46 h 529"/>
                <a:gd name="T2" fmla="*/ 383 w 669"/>
                <a:gd name="T3" fmla="*/ 82 h 529"/>
                <a:gd name="T4" fmla="*/ 329 w 669"/>
                <a:gd name="T5" fmla="*/ 43 h 529"/>
                <a:gd name="T6" fmla="*/ 255 w 669"/>
                <a:gd name="T7" fmla="*/ 43 h 529"/>
                <a:gd name="T8" fmla="*/ 207 w 669"/>
                <a:gd name="T9" fmla="*/ 11 h 529"/>
                <a:gd name="T10" fmla="*/ 139 w 669"/>
                <a:gd name="T11" fmla="*/ 24 h 529"/>
                <a:gd name="T12" fmla="*/ 115 w 669"/>
                <a:gd name="T13" fmla="*/ 102 h 529"/>
                <a:gd name="T14" fmla="*/ 85 w 669"/>
                <a:gd name="T15" fmla="*/ 100 h 529"/>
                <a:gd name="T16" fmla="*/ 59 w 669"/>
                <a:gd name="T17" fmla="*/ 137 h 529"/>
                <a:gd name="T18" fmla="*/ 57 w 669"/>
                <a:gd name="T19" fmla="*/ 139 h 529"/>
                <a:gd name="T20" fmla="*/ 20 w 669"/>
                <a:gd name="T21" fmla="*/ 180 h 529"/>
                <a:gd name="T22" fmla="*/ 20 w 669"/>
                <a:gd name="T23" fmla="*/ 180 h 529"/>
                <a:gd name="T24" fmla="*/ 20 w 669"/>
                <a:gd name="T25" fmla="*/ 225 h 529"/>
                <a:gd name="T26" fmla="*/ 20 w 669"/>
                <a:gd name="T27" fmla="*/ 225 h 529"/>
                <a:gd name="T28" fmla="*/ 166 w 669"/>
                <a:gd name="T29" fmla="*/ 360 h 529"/>
                <a:gd name="T30" fmla="*/ 166 w 669"/>
                <a:gd name="T31" fmla="*/ 362 h 529"/>
                <a:gd name="T32" fmla="*/ 194 w 669"/>
                <a:gd name="T33" fmla="*/ 397 h 529"/>
                <a:gd name="T34" fmla="*/ 200 w 669"/>
                <a:gd name="T35" fmla="*/ 427 h 529"/>
                <a:gd name="T36" fmla="*/ 244 w 669"/>
                <a:gd name="T37" fmla="*/ 425 h 529"/>
                <a:gd name="T38" fmla="*/ 259 w 669"/>
                <a:gd name="T39" fmla="*/ 453 h 529"/>
                <a:gd name="T40" fmla="*/ 344 w 669"/>
                <a:gd name="T41" fmla="*/ 455 h 529"/>
                <a:gd name="T42" fmla="*/ 342 w 669"/>
                <a:gd name="T43" fmla="*/ 516 h 529"/>
                <a:gd name="T44" fmla="*/ 377 w 669"/>
                <a:gd name="T45" fmla="*/ 507 h 529"/>
                <a:gd name="T46" fmla="*/ 379 w 669"/>
                <a:gd name="T47" fmla="*/ 507 h 529"/>
                <a:gd name="T48" fmla="*/ 403 w 669"/>
                <a:gd name="T49" fmla="*/ 507 h 529"/>
                <a:gd name="T50" fmla="*/ 458 w 669"/>
                <a:gd name="T51" fmla="*/ 507 h 529"/>
                <a:gd name="T52" fmla="*/ 479 w 669"/>
                <a:gd name="T53" fmla="*/ 483 h 529"/>
                <a:gd name="T54" fmla="*/ 536 w 669"/>
                <a:gd name="T55" fmla="*/ 475 h 529"/>
                <a:gd name="T56" fmla="*/ 536 w 669"/>
                <a:gd name="T57" fmla="*/ 475 h 529"/>
                <a:gd name="T58" fmla="*/ 621 w 669"/>
                <a:gd name="T59" fmla="*/ 479 h 529"/>
                <a:gd name="T60" fmla="*/ 623 w 669"/>
                <a:gd name="T61" fmla="*/ 440 h 529"/>
                <a:gd name="T62" fmla="*/ 665 w 669"/>
                <a:gd name="T63" fmla="*/ 410 h 529"/>
                <a:gd name="T64" fmla="*/ 634 w 669"/>
                <a:gd name="T65" fmla="*/ 379 h 529"/>
                <a:gd name="T66" fmla="*/ 634 w 669"/>
                <a:gd name="T67" fmla="*/ 379 h 529"/>
                <a:gd name="T68" fmla="*/ 608 w 669"/>
                <a:gd name="T69" fmla="*/ 355 h 529"/>
                <a:gd name="T70" fmla="*/ 604 w 669"/>
                <a:gd name="T71" fmla="*/ 321 h 529"/>
                <a:gd name="T72" fmla="*/ 606 w 669"/>
                <a:gd name="T73" fmla="*/ 319 h 529"/>
                <a:gd name="T74" fmla="*/ 649 w 669"/>
                <a:gd name="T75" fmla="*/ 260 h 529"/>
                <a:gd name="T76" fmla="*/ 621 w 669"/>
                <a:gd name="T77" fmla="*/ 256 h 529"/>
                <a:gd name="T78" fmla="*/ 588 w 669"/>
                <a:gd name="T79" fmla="*/ 191 h 529"/>
                <a:gd name="T80" fmla="*/ 477 w 669"/>
                <a:gd name="T81" fmla="*/ 173 h 529"/>
                <a:gd name="T82" fmla="*/ 477 w 669"/>
                <a:gd name="T83" fmla="*/ 141 h 529"/>
                <a:gd name="T84" fmla="*/ 477 w 669"/>
                <a:gd name="T85" fmla="*/ 139 h 529"/>
                <a:gd name="T86" fmla="*/ 477 w 669"/>
                <a:gd name="T87" fmla="*/ 67 h 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69" h="529">
                  <a:moveTo>
                    <a:pt x="477" y="67"/>
                  </a:moveTo>
                  <a:lnTo>
                    <a:pt x="444" y="46"/>
                  </a:lnTo>
                  <a:lnTo>
                    <a:pt x="383" y="82"/>
                  </a:lnTo>
                  <a:lnTo>
                    <a:pt x="383" y="82"/>
                  </a:lnTo>
                  <a:lnTo>
                    <a:pt x="381" y="80"/>
                  </a:lnTo>
                  <a:lnTo>
                    <a:pt x="329" y="43"/>
                  </a:lnTo>
                  <a:lnTo>
                    <a:pt x="257" y="43"/>
                  </a:lnTo>
                  <a:lnTo>
                    <a:pt x="255" y="43"/>
                  </a:lnTo>
                  <a:lnTo>
                    <a:pt x="255" y="41"/>
                  </a:lnTo>
                  <a:lnTo>
                    <a:pt x="207" y="11"/>
                  </a:lnTo>
                  <a:lnTo>
                    <a:pt x="172" y="0"/>
                  </a:lnTo>
                  <a:lnTo>
                    <a:pt x="139" y="24"/>
                  </a:lnTo>
                  <a:lnTo>
                    <a:pt x="115" y="102"/>
                  </a:lnTo>
                  <a:lnTo>
                    <a:pt x="115" y="102"/>
                  </a:lnTo>
                  <a:lnTo>
                    <a:pt x="113" y="102"/>
                  </a:lnTo>
                  <a:lnTo>
                    <a:pt x="85" y="100"/>
                  </a:lnTo>
                  <a:lnTo>
                    <a:pt x="63" y="113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7" y="139"/>
                  </a:lnTo>
                  <a:lnTo>
                    <a:pt x="17" y="16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0" y="206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25"/>
                  </a:lnTo>
                  <a:lnTo>
                    <a:pt x="20" y="293"/>
                  </a:lnTo>
                  <a:lnTo>
                    <a:pt x="166" y="360"/>
                  </a:lnTo>
                  <a:lnTo>
                    <a:pt x="166" y="362"/>
                  </a:lnTo>
                  <a:lnTo>
                    <a:pt x="166" y="362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194" y="397"/>
                  </a:lnTo>
                  <a:lnTo>
                    <a:pt x="200" y="427"/>
                  </a:lnTo>
                  <a:lnTo>
                    <a:pt x="244" y="425"/>
                  </a:lnTo>
                  <a:lnTo>
                    <a:pt x="244" y="425"/>
                  </a:lnTo>
                  <a:lnTo>
                    <a:pt x="246" y="427"/>
                  </a:lnTo>
                  <a:lnTo>
                    <a:pt x="259" y="453"/>
                  </a:lnTo>
                  <a:lnTo>
                    <a:pt x="342" y="455"/>
                  </a:lnTo>
                  <a:lnTo>
                    <a:pt x="344" y="455"/>
                  </a:lnTo>
                  <a:lnTo>
                    <a:pt x="344" y="457"/>
                  </a:lnTo>
                  <a:lnTo>
                    <a:pt x="342" y="516"/>
                  </a:lnTo>
                  <a:lnTo>
                    <a:pt x="351" y="529"/>
                  </a:lnTo>
                  <a:lnTo>
                    <a:pt x="377" y="507"/>
                  </a:lnTo>
                  <a:lnTo>
                    <a:pt x="379" y="507"/>
                  </a:lnTo>
                  <a:lnTo>
                    <a:pt x="379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3" y="507"/>
                  </a:lnTo>
                  <a:lnTo>
                    <a:pt x="458" y="507"/>
                  </a:lnTo>
                  <a:lnTo>
                    <a:pt x="479" y="483"/>
                  </a:lnTo>
                  <a:lnTo>
                    <a:pt x="479" y="483"/>
                  </a:lnTo>
                  <a:lnTo>
                    <a:pt x="479" y="481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36" y="475"/>
                  </a:lnTo>
                  <a:lnTo>
                    <a:pt x="584" y="496"/>
                  </a:lnTo>
                  <a:lnTo>
                    <a:pt x="621" y="479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23" y="440"/>
                  </a:lnTo>
                  <a:lnTo>
                    <a:pt x="665" y="410"/>
                  </a:lnTo>
                  <a:lnTo>
                    <a:pt x="669" y="390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34" y="379"/>
                  </a:lnTo>
                  <a:lnTo>
                    <a:pt x="608" y="355"/>
                  </a:lnTo>
                  <a:lnTo>
                    <a:pt x="608" y="355"/>
                  </a:lnTo>
                  <a:lnTo>
                    <a:pt x="608" y="353"/>
                  </a:lnTo>
                  <a:lnTo>
                    <a:pt x="604" y="321"/>
                  </a:lnTo>
                  <a:lnTo>
                    <a:pt x="604" y="321"/>
                  </a:lnTo>
                  <a:lnTo>
                    <a:pt x="606" y="319"/>
                  </a:lnTo>
                  <a:lnTo>
                    <a:pt x="647" y="282"/>
                  </a:lnTo>
                  <a:lnTo>
                    <a:pt x="649" y="260"/>
                  </a:lnTo>
                  <a:lnTo>
                    <a:pt x="621" y="256"/>
                  </a:lnTo>
                  <a:lnTo>
                    <a:pt x="621" y="256"/>
                  </a:lnTo>
                  <a:lnTo>
                    <a:pt x="619" y="256"/>
                  </a:lnTo>
                  <a:lnTo>
                    <a:pt x="588" y="191"/>
                  </a:lnTo>
                  <a:lnTo>
                    <a:pt x="477" y="173"/>
                  </a:lnTo>
                  <a:lnTo>
                    <a:pt x="477" y="173"/>
                  </a:lnTo>
                  <a:lnTo>
                    <a:pt x="477" y="171"/>
                  </a:lnTo>
                  <a:lnTo>
                    <a:pt x="477" y="141"/>
                  </a:lnTo>
                  <a:lnTo>
                    <a:pt x="477" y="141"/>
                  </a:lnTo>
                  <a:lnTo>
                    <a:pt x="477" y="139"/>
                  </a:lnTo>
                  <a:lnTo>
                    <a:pt x="492" y="121"/>
                  </a:lnTo>
                  <a:lnTo>
                    <a:pt x="477" y="67"/>
                  </a:lnTo>
                  <a:lnTo>
                    <a:pt x="477" y="6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8" name="Freeform 283">
              <a:extLst>
                <a:ext uri="{FF2B5EF4-FFF2-40B4-BE49-F238E27FC236}">
                  <a16:creationId xmlns:a16="http://schemas.microsoft.com/office/drawing/2014/main" xmlns="" id="{CEB56BDA-251F-4F2E-A3AD-71EC00CFAE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4" y="3279"/>
              <a:ext cx="240" cy="384"/>
            </a:xfrm>
            <a:custGeom>
              <a:avLst/>
              <a:gdLst>
                <a:gd name="T0" fmla="*/ 90 w 240"/>
                <a:gd name="T1" fmla="*/ 7 h 384"/>
                <a:gd name="T2" fmla="*/ 98 w 240"/>
                <a:gd name="T3" fmla="*/ 61 h 384"/>
                <a:gd name="T4" fmla="*/ 98 w 240"/>
                <a:gd name="T5" fmla="*/ 63 h 384"/>
                <a:gd name="T6" fmla="*/ 79 w 240"/>
                <a:gd name="T7" fmla="*/ 113 h 384"/>
                <a:gd name="T8" fmla="*/ 111 w 240"/>
                <a:gd name="T9" fmla="*/ 124 h 384"/>
                <a:gd name="T10" fmla="*/ 100 w 240"/>
                <a:gd name="T11" fmla="*/ 161 h 384"/>
                <a:gd name="T12" fmla="*/ 100 w 240"/>
                <a:gd name="T13" fmla="*/ 161 h 384"/>
                <a:gd name="T14" fmla="*/ 87 w 240"/>
                <a:gd name="T15" fmla="*/ 215 h 384"/>
                <a:gd name="T16" fmla="*/ 87 w 240"/>
                <a:gd name="T17" fmla="*/ 217 h 384"/>
                <a:gd name="T18" fmla="*/ 90 w 240"/>
                <a:gd name="T19" fmla="*/ 258 h 384"/>
                <a:gd name="T20" fmla="*/ 87 w 240"/>
                <a:gd name="T21" fmla="*/ 260 h 384"/>
                <a:gd name="T22" fmla="*/ 55 w 240"/>
                <a:gd name="T23" fmla="*/ 293 h 384"/>
                <a:gd name="T24" fmla="*/ 35 w 240"/>
                <a:gd name="T25" fmla="*/ 304 h 384"/>
                <a:gd name="T26" fmla="*/ 35 w 240"/>
                <a:gd name="T27" fmla="*/ 304 h 384"/>
                <a:gd name="T28" fmla="*/ 0 w 240"/>
                <a:gd name="T29" fmla="*/ 351 h 384"/>
                <a:gd name="T30" fmla="*/ 57 w 240"/>
                <a:gd name="T31" fmla="*/ 360 h 384"/>
                <a:gd name="T32" fmla="*/ 59 w 240"/>
                <a:gd name="T33" fmla="*/ 360 h 384"/>
                <a:gd name="T34" fmla="*/ 131 w 240"/>
                <a:gd name="T35" fmla="*/ 319 h 384"/>
                <a:gd name="T36" fmla="*/ 133 w 240"/>
                <a:gd name="T37" fmla="*/ 317 h 384"/>
                <a:gd name="T38" fmla="*/ 172 w 240"/>
                <a:gd name="T39" fmla="*/ 284 h 384"/>
                <a:gd name="T40" fmla="*/ 175 w 240"/>
                <a:gd name="T41" fmla="*/ 282 h 384"/>
                <a:gd name="T42" fmla="*/ 212 w 240"/>
                <a:gd name="T43" fmla="*/ 252 h 384"/>
                <a:gd name="T44" fmla="*/ 212 w 240"/>
                <a:gd name="T45" fmla="*/ 228 h 384"/>
                <a:gd name="T46" fmla="*/ 240 w 240"/>
                <a:gd name="T47" fmla="*/ 213 h 384"/>
                <a:gd name="T48" fmla="*/ 227 w 240"/>
                <a:gd name="T49" fmla="*/ 156 h 384"/>
                <a:gd name="T50" fmla="*/ 227 w 240"/>
                <a:gd name="T51" fmla="*/ 156 h 384"/>
                <a:gd name="T52" fmla="*/ 196 w 240"/>
                <a:gd name="T53" fmla="*/ 87 h 384"/>
                <a:gd name="T54" fmla="*/ 196 w 240"/>
                <a:gd name="T55" fmla="*/ 85 h 384"/>
                <a:gd name="T56" fmla="*/ 190 w 240"/>
                <a:gd name="T57" fmla="*/ 50 h 384"/>
                <a:gd name="T58" fmla="*/ 157 w 240"/>
                <a:gd name="T59" fmla="*/ 52 h 384"/>
                <a:gd name="T60" fmla="*/ 122 w 240"/>
                <a:gd name="T61" fmla="*/ 52 h 384"/>
                <a:gd name="T62" fmla="*/ 120 w 240"/>
                <a:gd name="T63" fmla="*/ 52 h 384"/>
                <a:gd name="T64" fmla="*/ 103 w 240"/>
                <a:gd name="T65" fmla="*/ 0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0" h="384">
                  <a:moveTo>
                    <a:pt x="103" y="0"/>
                  </a:moveTo>
                  <a:lnTo>
                    <a:pt x="90" y="7"/>
                  </a:lnTo>
                  <a:lnTo>
                    <a:pt x="85" y="31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74" y="96"/>
                  </a:lnTo>
                  <a:lnTo>
                    <a:pt x="79" y="113"/>
                  </a:lnTo>
                  <a:lnTo>
                    <a:pt x="109" y="124"/>
                  </a:lnTo>
                  <a:lnTo>
                    <a:pt x="111" y="124"/>
                  </a:lnTo>
                  <a:lnTo>
                    <a:pt x="111" y="126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100" y="161"/>
                  </a:lnTo>
                  <a:lnTo>
                    <a:pt x="79" y="187"/>
                  </a:lnTo>
                  <a:lnTo>
                    <a:pt x="87" y="215"/>
                  </a:lnTo>
                  <a:lnTo>
                    <a:pt x="87" y="217"/>
                  </a:lnTo>
                  <a:lnTo>
                    <a:pt x="87" y="217"/>
                  </a:lnTo>
                  <a:lnTo>
                    <a:pt x="81" y="239"/>
                  </a:lnTo>
                  <a:lnTo>
                    <a:pt x="90" y="258"/>
                  </a:lnTo>
                  <a:lnTo>
                    <a:pt x="90" y="260"/>
                  </a:lnTo>
                  <a:lnTo>
                    <a:pt x="87" y="260"/>
                  </a:lnTo>
                  <a:lnTo>
                    <a:pt x="55" y="293"/>
                  </a:lnTo>
                  <a:lnTo>
                    <a:pt x="55" y="293"/>
                  </a:lnTo>
                  <a:lnTo>
                    <a:pt x="55" y="295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35" y="304"/>
                  </a:lnTo>
                  <a:lnTo>
                    <a:pt x="11" y="312"/>
                  </a:lnTo>
                  <a:lnTo>
                    <a:pt x="0" y="351"/>
                  </a:lnTo>
                  <a:lnTo>
                    <a:pt x="26" y="384"/>
                  </a:lnTo>
                  <a:lnTo>
                    <a:pt x="57" y="360"/>
                  </a:lnTo>
                  <a:lnTo>
                    <a:pt x="59" y="358"/>
                  </a:lnTo>
                  <a:lnTo>
                    <a:pt x="59" y="360"/>
                  </a:lnTo>
                  <a:lnTo>
                    <a:pt x="116" y="356"/>
                  </a:lnTo>
                  <a:lnTo>
                    <a:pt x="131" y="319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55" y="319"/>
                  </a:lnTo>
                  <a:lnTo>
                    <a:pt x="172" y="284"/>
                  </a:lnTo>
                  <a:lnTo>
                    <a:pt x="172" y="282"/>
                  </a:lnTo>
                  <a:lnTo>
                    <a:pt x="175" y="282"/>
                  </a:lnTo>
                  <a:lnTo>
                    <a:pt x="203" y="271"/>
                  </a:lnTo>
                  <a:lnTo>
                    <a:pt x="212" y="252"/>
                  </a:lnTo>
                  <a:lnTo>
                    <a:pt x="212" y="230"/>
                  </a:lnTo>
                  <a:lnTo>
                    <a:pt x="212" y="228"/>
                  </a:lnTo>
                  <a:lnTo>
                    <a:pt x="214" y="228"/>
                  </a:lnTo>
                  <a:lnTo>
                    <a:pt x="240" y="213"/>
                  </a:lnTo>
                  <a:lnTo>
                    <a:pt x="240" y="191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7" y="156"/>
                  </a:lnTo>
                  <a:lnTo>
                    <a:pt x="223" y="124"/>
                  </a:lnTo>
                  <a:lnTo>
                    <a:pt x="196" y="87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207" y="61"/>
                  </a:lnTo>
                  <a:lnTo>
                    <a:pt x="190" y="50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57" y="52"/>
                  </a:lnTo>
                  <a:lnTo>
                    <a:pt x="122" y="52"/>
                  </a:lnTo>
                  <a:lnTo>
                    <a:pt x="122" y="52"/>
                  </a:lnTo>
                  <a:lnTo>
                    <a:pt x="120" y="52"/>
                  </a:lnTo>
                  <a:lnTo>
                    <a:pt x="103" y="0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9" name="Freeform 284">
              <a:extLst>
                <a:ext uri="{FF2B5EF4-FFF2-40B4-BE49-F238E27FC236}">
                  <a16:creationId xmlns:a16="http://schemas.microsoft.com/office/drawing/2014/main" xmlns="" id="{54D286F9-4BC2-469D-97F3-16C92617F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4" y="1578"/>
              <a:ext cx="35" cy="48"/>
            </a:xfrm>
            <a:custGeom>
              <a:avLst/>
              <a:gdLst>
                <a:gd name="T0" fmla="*/ 0 w 35"/>
                <a:gd name="T1" fmla="*/ 22 h 48"/>
                <a:gd name="T2" fmla="*/ 20 w 35"/>
                <a:gd name="T3" fmla="*/ 48 h 48"/>
                <a:gd name="T4" fmla="*/ 35 w 35"/>
                <a:gd name="T5" fmla="*/ 41 h 48"/>
                <a:gd name="T6" fmla="*/ 31 w 35"/>
                <a:gd name="T7" fmla="*/ 7 h 48"/>
                <a:gd name="T8" fmla="*/ 16 w 35"/>
                <a:gd name="T9" fmla="*/ 0 h 48"/>
                <a:gd name="T10" fmla="*/ 0 w 35"/>
                <a:gd name="T11" fmla="*/ 22 h 48"/>
                <a:gd name="T12" fmla="*/ 0 w 35"/>
                <a:gd name="T13" fmla="*/ 2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48">
                  <a:moveTo>
                    <a:pt x="0" y="22"/>
                  </a:moveTo>
                  <a:lnTo>
                    <a:pt x="20" y="48"/>
                  </a:lnTo>
                  <a:lnTo>
                    <a:pt x="35" y="41"/>
                  </a:lnTo>
                  <a:lnTo>
                    <a:pt x="31" y="7"/>
                  </a:lnTo>
                  <a:lnTo>
                    <a:pt x="16" y="0"/>
                  </a:lnTo>
                  <a:lnTo>
                    <a:pt x="0" y="22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0" name="Freeform 285">
              <a:extLst>
                <a:ext uri="{FF2B5EF4-FFF2-40B4-BE49-F238E27FC236}">
                  <a16:creationId xmlns:a16="http://schemas.microsoft.com/office/drawing/2014/main" xmlns="" id="{9D06A158-618B-4654-88DC-174A64200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1427"/>
              <a:ext cx="22" cy="28"/>
            </a:xfrm>
            <a:custGeom>
              <a:avLst/>
              <a:gdLst>
                <a:gd name="T0" fmla="*/ 0 w 22"/>
                <a:gd name="T1" fmla="*/ 15 h 28"/>
                <a:gd name="T2" fmla="*/ 11 w 22"/>
                <a:gd name="T3" fmla="*/ 28 h 28"/>
                <a:gd name="T4" fmla="*/ 22 w 22"/>
                <a:gd name="T5" fmla="*/ 17 h 28"/>
                <a:gd name="T6" fmla="*/ 17 w 22"/>
                <a:gd name="T7" fmla="*/ 0 h 28"/>
                <a:gd name="T8" fmla="*/ 2 w 22"/>
                <a:gd name="T9" fmla="*/ 4 h 28"/>
                <a:gd name="T10" fmla="*/ 0 w 22"/>
                <a:gd name="T11" fmla="*/ 15 h 28"/>
                <a:gd name="T12" fmla="*/ 0 w 22"/>
                <a:gd name="T13" fmla="*/ 15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8">
                  <a:moveTo>
                    <a:pt x="0" y="15"/>
                  </a:moveTo>
                  <a:lnTo>
                    <a:pt x="11" y="28"/>
                  </a:lnTo>
                  <a:lnTo>
                    <a:pt x="22" y="17"/>
                  </a:lnTo>
                  <a:lnTo>
                    <a:pt x="17" y="0"/>
                  </a:lnTo>
                  <a:lnTo>
                    <a:pt x="2" y="4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1" name="Freeform 286">
              <a:extLst>
                <a:ext uri="{FF2B5EF4-FFF2-40B4-BE49-F238E27FC236}">
                  <a16:creationId xmlns:a16="http://schemas.microsoft.com/office/drawing/2014/main" xmlns="" id="{75BAF2B6-D4A0-4943-80D4-3A3731997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9" y="798"/>
              <a:ext cx="44" cy="33"/>
            </a:xfrm>
            <a:custGeom>
              <a:avLst/>
              <a:gdLst>
                <a:gd name="T0" fmla="*/ 0 w 44"/>
                <a:gd name="T1" fmla="*/ 26 h 33"/>
                <a:gd name="T2" fmla="*/ 44 w 44"/>
                <a:gd name="T3" fmla="*/ 33 h 33"/>
                <a:gd name="T4" fmla="*/ 33 w 44"/>
                <a:gd name="T5" fmla="*/ 0 h 33"/>
                <a:gd name="T6" fmla="*/ 5 w 44"/>
                <a:gd name="T7" fmla="*/ 2 h 33"/>
                <a:gd name="T8" fmla="*/ 0 w 44"/>
                <a:gd name="T9" fmla="*/ 26 h 33"/>
                <a:gd name="T10" fmla="*/ 0 w 44"/>
                <a:gd name="T11" fmla="*/ 2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33">
                  <a:moveTo>
                    <a:pt x="0" y="26"/>
                  </a:moveTo>
                  <a:lnTo>
                    <a:pt x="44" y="33"/>
                  </a:lnTo>
                  <a:lnTo>
                    <a:pt x="33" y="0"/>
                  </a:lnTo>
                  <a:lnTo>
                    <a:pt x="5" y="2"/>
                  </a:lnTo>
                  <a:lnTo>
                    <a:pt x="0" y="26"/>
                  </a:lnTo>
                  <a:lnTo>
                    <a:pt x="0" y="2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2" name="Freeform 287">
              <a:extLst>
                <a:ext uri="{FF2B5EF4-FFF2-40B4-BE49-F238E27FC236}">
                  <a16:creationId xmlns:a16="http://schemas.microsoft.com/office/drawing/2014/main" xmlns="" id="{B9D16377-9653-4BF6-A95F-1019F6604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6" y="807"/>
              <a:ext cx="112" cy="141"/>
            </a:xfrm>
            <a:custGeom>
              <a:avLst/>
              <a:gdLst>
                <a:gd name="T0" fmla="*/ 0 w 112"/>
                <a:gd name="T1" fmla="*/ 95 h 141"/>
                <a:gd name="T2" fmla="*/ 24 w 112"/>
                <a:gd name="T3" fmla="*/ 65 h 141"/>
                <a:gd name="T4" fmla="*/ 18 w 112"/>
                <a:gd name="T5" fmla="*/ 37 h 141"/>
                <a:gd name="T6" fmla="*/ 40 w 112"/>
                <a:gd name="T7" fmla="*/ 21 h 141"/>
                <a:gd name="T8" fmla="*/ 64 w 112"/>
                <a:gd name="T9" fmla="*/ 0 h 141"/>
                <a:gd name="T10" fmla="*/ 88 w 112"/>
                <a:gd name="T11" fmla="*/ 21 h 141"/>
                <a:gd name="T12" fmla="*/ 103 w 112"/>
                <a:gd name="T13" fmla="*/ 63 h 141"/>
                <a:gd name="T14" fmla="*/ 112 w 112"/>
                <a:gd name="T15" fmla="*/ 80 h 141"/>
                <a:gd name="T16" fmla="*/ 88 w 112"/>
                <a:gd name="T17" fmla="*/ 93 h 141"/>
                <a:gd name="T18" fmla="*/ 88 w 112"/>
                <a:gd name="T19" fmla="*/ 115 h 141"/>
                <a:gd name="T20" fmla="*/ 29 w 112"/>
                <a:gd name="T21" fmla="*/ 141 h 141"/>
                <a:gd name="T22" fmla="*/ 0 w 112"/>
                <a:gd name="T23" fmla="*/ 115 h 141"/>
                <a:gd name="T24" fmla="*/ 0 w 112"/>
                <a:gd name="T25" fmla="*/ 95 h 141"/>
                <a:gd name="T26" fmla="*/ 0 w 112"/>
                <a:gd name="T27" fmla="*/ 9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2" h="141">
                  <a:moveTo>
                    <a:pt x="0" y="95"/>
                  </a:moveTo>
                  <a:lnTo>
                    <a:pt x="24" y="65"/>
                  </a:lnTo>
                  <a:lnTo>
                    <a:pt x="18" y="37"/>
                  </a:lnTo>
                  <a:lnTo>
                    <a:pt x="40" y="21"/>
                  </a:lnTo>
                  <a:lnTo>
                    <a:pt x="64" y="0"/>
                  </a:lnTo>
                  <a:lnTo>
                    <a:pt x="88" y="21"/>
                  </a:lnTo>
                  <a:lnTo>
                    <a:pt x="103" y="63"/>
                  </a:lnTo>
                  <a:lnTo>
                    <a:pt x="112" y="80"/>
                  </a:lnTo>
                  <a:lnTo>
                    <a:pt x="88" y="93"/>
                  </a:lnTo>
                  <a:lnTo>
                    <a:pt x="88" y="115"/>
                  </a:lnTo>
                  <a:lnTo>
                    <a:pt x="29" y="141"/>
                  </a:lnTo>
                  <a:lnTo>
                    <a:pt x="0" y="115"/>
                  </a:lnTo>
                  <a:lnTo>
                    <a:pt x="0" y="95"/>
                  </a:lnTo>
                  <a:lnTo>
                    <a:pt x="0" y="9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3" name="Freeform 288">
              <a:extLst>
                <a:ext uri="{FF2B5EF4-FFF2-40B4-BE49-F238E27FC236}">
                  <a16:creationId xmlns:a16="http://schemas.microsoft.com/office/drawing/2014/main" xmlns="" id="{E3BDE59C-7949-4392-98CA-2BF83900C5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7" y="937"/>
              <a:ext cx="63" cy="50"/>
            </a:xfrm>
            <a:custGeom>
              <a:avLst/>
              <a:gdLst>
                <a:gd name="T0" fmla="*/ 18 w 63"/>
                <a:gd name="T1" fmla="*/ 0 h 50"/>
                <a:gd name="T2" fmla="*/ 63 w 63"/>
                <a:gd name="T3" fmla="*/ 17 h 50"/>
                <a:gd name="T4" fmla="*/ 57 w 63"/>
                <a:gd name="T5" fmla="*/ 39 h 50"/>
                <a:gd name="T6" fmla="*/ 35 w 63"/>
                <a:gd name="T7" fmla="*/ 50 h 50"/>
                <a:gd name="T8" fmla="*/ 5 w 63"/>
                <a:gd name="T9" fmla="*/ 30 h 50"/>
                <a:gd name="T10" fmla="*/ 0 w 63"/>
                <a:gd name="T11" fmla="*/ 9 h 50"/>
                <a:gd name="T12" fmla="*/ 18 w 63"/>
                <a:gd name="T13" fmla="*/ 0 h 50"/>
                <a:gd name="T14" fmla="*/ 18 w 63"/>
                <a:gd name="T15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0">
                  <a:moveTo>
                    <a:pt x="18" y="0"/>
                  </a:moveTo>
                  <a:lnTo>
                    <a:pt x="63" y="17"/>
                  </a:lnTo>
                  <a:lnTo>
                    <a:pt x="57" y="39"/>
                  </a:lnTo>
                  <a:lnTo>
                    <a:pt x="35" y="50"/>
                  </a:lnTo>
                  <a:lnTo>
                    <a:pt x="5" y="30"/>
                  </a:lnTo>
                  <a:lnTo>
                    <a:pt x="0" y="9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4" name="Freeform 289">
              <a:extLst>
                <a:ext uri="{FF2B5EF4-FFF2-40B4-BE49-F238E27FC236}">
                  <a16:creationId xmlns:a16="http://schemas.microsoft.com/office/drawing/2014/main" xmlns="" id="{54BBE54D-F55F-4D0F-9514-1D3E268B7AA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44" y="933"/>
              <a:ext cx="126" cy="158"/>
            </a:xfrm>
            <a:custGeom>
              <a:avLst/>
              <a:gdLst>
                <a:gd name="T0" fmla="*/ 0 w 126"/>
                <a:gd name="T1" fmla="*/ 75 h 158"/>
                <a:gd name="T2" fmla="*/ 19 w 126"/>
                <a:gd name="T3" fmla="*/ 26 h 158"/>
                <a:gd name="T4" fmla="*/ 74 w 126"/>
                <a:gd name="T5" fmla="*/ 0 h 158"/>
                <a:gd name="T6" fmla="*/ 85 w 126"/>
                <a:gd name="T7" fmla="*/ 36 h 158"/>
                <a:gd name="T8" fmla="*/ 100 w 126"/>
                <a:gd name="T9" fmla="*/ 32 h 158"/>
                <a:gd name="T10" fmla="*/ 100 w 126"/>
                <a:gd name="T11" fmla="*/ 17 h 158"/>
                <a:gd name="T12" fmla="*/ 126 w 126"/>
                <a:gd name="T13" fmla="*/ 41 h 158"/>
                <a:gd name="T14" fmla="*/ 124 w 126"/>
                <a:gd name="T15" fmla="*/ 73 h 158"/>
                <a:gd name="T16" fmla="*/ 104 w 126"/>
                <a:gd name="T17" fmla="*/ 101 h 158"/>
                <a:gd name="T18" fmla="*/ 122 w 126"/>
                <a:gd name="T19" fmla="*/ 121 h 158"/>
                <a:gd name="T20" fmla="*/ 117 w 126"/>
                <a:gd name="T21" fmla="*/ 147 h 158"/>
                <a:gd name="T22" fmla="*/ 98 w 126"/>
                <a:gd name="T23" fmla="*/ 158 h 158"/>
                <a:gd name="T24" fmla="*/ 56 w 126"/>
                <a:gd name="T25" fmla="*/ 132 h 158"/>
                <a:gd name="T26" fmla="*/ 19 w 126"/>
                <a:gd name="T27" fmla="*/ 99 h 158"/>
                <a:gd name="T28" fmla="*/ 0 w 126"/>
                <a:gd name="T29" fmla="*/ 91 h 158"/>
                <a:gd name="T30" fmla="*/ 0 w 126"/>
                <a:gd name="T31" fmla="*/ 75 h 158"/>
                <a:gd name="T32" fmla="*/ 0 w 126"/>
                <a:gd name="T33" fmla="*/ 75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58">
                  <a:moveTo>
                    <a:pt x="0" y="75"/>
                  </a:moveTo>
                  <a:lnTo>
                    <a:pt x="19" y="26"/>
                  </a:lnTo>
                  <a:lnTo>
                    <a:pt x="74" y="0"/>
                  </a:lnTo>
                  <a:lnTo>
                    <a:pt x="85" y="36"/>
                  </a:lnTo>
                  <a:lnTo>
                    <a:pt x="100" y="32"/>
                  </a:lnTo>
                  <a:lnTo>
                    <a:pt x="100" y="17"/>
                  </a:lnTo>
                  <a:lnTo>
                    <a:pt x="126" y="41"/>
                  </a:lnTo>
                  <a:lnTo>
                    <a:pt x="124" y="73"/>
                  </a:lnTo>
                  <a:lnTo>
                    <a:pt x="104" y="101"/>
                  </a:lnTo>
                  <a:lnTo>
                    <a:pt x="122" y="121"/>
                  </a:lnTo>
                  <a:lnTo>
                    <a:pt x="117" y="147"/>
                  </a:lnTo>
                  <a:lnTo>
                    <a:pt x="98" y="158"/>
                  </a:lnTo>
                  <a:lnTo>
                    <a:pt x="56" y="132"/>
                  </a:lnTo>
                  <a:lnTo>
                    <a:pt x="19" y="99"/>
                  </a:lnTo>
                  <a:lnTo>
                    <a:pt x="0" y="91"/>
                  </a:lnTo>
                  <a:lnTo>
                    <a:pt x="0" y="75"/>
                  </a:lnTo>
                  <a:lnTo>
                    <a:pt x="0" y="7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5" name="Freeform 290">
              <a:extLst>
                <a:ext uri="{FF2B5EF4-FFF2-40B4-BE49-F238E27FC236}">
                  <a16:creationId xmlns:a16="http://schemas.microsoft.com/office/drawing/2014/main" xmlns="" id="{F984950E-1EC7-4499-AF19-2B7F7C08B8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7" y="1017"/>
              <a:ext cx="116" cy="158"/>
            </a:xfrm>
            <a:custGeom>
              <a:avLst/>
              <a:gdLst>
                <a:gd name="T0" fmla="*/ 31 w 116"/>
                <a:gd name="T1" fmla="*/ 20 h 158"/>
                <a:gd name="T2" fmla="*/ 24 w 116"/>
                <a:gd name="T3" fmla="*/ 82 h 158"/>
                <a:gd name="T4" fmla="*/ 0 w 116"/>
                <a:gd name="T5" fmla="*/ 126 h 158"/>
                <a:gd name="T6" fmla="*/ 11 w 116"/>
                <a:gd name="T7" fmla="*/ 158 h 158"/>
                <a:gd name="T8" fmla="*/ 50 w 116"/>
                <a:gd name="T9" fmla="*/ 128 h 158"/>
                <a:gd name="T10" fmla="*/ 92 w 116"/>
                <a:gd name="T11" fmla="*/ 124 h 158"/>
                <a:gd name="T12" fmla="*/ 113 w 116"/>
                <a:gd name="T13" fmla="*/ 102 h 158"/>
                <a:gd name="T14" fmla="*/ 116 w 116"/>
                <a:gd name="T15" fmla="*/ 52 h 158"/>
                <a:gd name="T16" fmla="*/ 94 w 116"/>
                <a:gd name="T17" fmla="*/ 22 h 158"/>
                <a:gd name="T18" fmla="*/ 74 w 116"/>
                <a:gd name="T19" fmla="*/ 41 h 158"/>
                <a:gd name="T20" fmla="*/ 63 w 116"/>
                <a:gd name="T21" fmla="*/ 30 h 158"/>
                <a:gd name="T22" fmla="*/ 63 w 116"/>
                <a:gd name="T23" fmla="*/ 0 h 158"/>
                <a:gd name="T24" fmla="*/ 31 w 116"/>
                <a:gd name="T25" fmla="*/ 20 h 158"/>
                <a:gd name="T26" fmla="*/ 31 w 116"/>
                <a:gd name="T27" fmla="*/ 2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158">
                  <a:moveTo>
                    <a:pt x="31" y="20"/>
                  </a:moveTo>
                  <a:lnTo>
                    <a:pt x="24" y="82"/>
                  </a:lnTo>
                  <a:lnTo>
                    <a:pt x="0" y="126"/>
                  </a:lnTo>
                  <a:lnTo>
                    <a:pt x="11" y="158"/>
                  </a:lnTo>
                  <a:lnTo>
                    <a:pt x="50" y="128"/>
                  </a:lnTo>
                  <a:lnTo>
                    <a:pt x="92" y="124"/>
                  </a:lnTo>
                  <a:lnTo>
                    <a:pt x="113" y="102"/>
                  </a:lnTo>
                  <a:lnTo>
                    <a:pt x="116" y="52"/>
                  </a:lnTo>
                  <a:lnTo>
                    <a:pt x="94" y="22"/>
                  </a:lnTo>
                  <a:lnTo>
                    <a:pt x="74" y="41"/>
                  </a:lnTo>
                  <a:lnTo>
                    <a:pt x="63" y="30"/>
                  </a:lnTo>
                  <a:lnTo>
                    <a:pt x="63" y="0"/>
                  </a:lnTo>
                  <a:lnTo>
                    <a:pt x="31" y="20"/>
                  </a:lnTo>
                  <a:lnTo>
                    <a:pt x="31" y="2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6" name="Freeform 291">
              <a:extLst>
                <a:ext uri="{FF2B5EF4-FFF2-40B4-BE49-F238E27FC236}">
                  <a16:creationId xmlns:a16="http://schemas.microsoft.com/office/drawing/2014/main" xmlns="" id="{682E35D5-CD91-4979-95E1-368252D11E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3" y="1121"/>
              <a:ext cx="35" cy="30"/>
            </a:xfrm>
            <a:custGeom>
              <a:avLst/>
              <a:gdLst>
                <a:gd name="T0" fmla="*/ 0 w 35"/>
                <a:gd name="T1" fmla="*/ 7 h 30"/>
                <a:gd name="T2" fmla="*/ 5 w 35"/>
                <a:gd name="T3" fmla="*/ 24 h 30"/>
                <a:gd name="T4" fmla="*/ 35 w 35"/>
                <a:gd name="T5" fmla="*/ 30 h 30"/>
                <a:gd name="T6" fmla="*/ 35 w 35"/>
                <a:gd name="T7" fmla="*/ 17 h 30"/>
                <a:gd name="T8" fmla="*/ 2 w 35"/>
                <a:gd name="T9" fmla="*/ 0 h 30"/>
                <a:gd name="T10" fmla="*/ 0 w 35"/>
                <a:gd name="T11" fmla="*/ 7 h 30"/>
                <a:gd name="T12" fmla="*/ 0 w 35"/>
                <a:gd name="T13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0">
                  <a:moveTo>
                    <a:pt x="0" y="7"/>
                  </a:moveTo>
                  <a:lnTo>
                    <a:pt x="5" y="24"/>
                  </a:lnTo>
                  <a:lnTo>
                    <a:pt x="35" y="30"/>
                  </a:lnTo>
                  <a:lnTo>
                    <a:pt x="35" y="17"/>
                  </a:lnTo>
                  <a:lnTo>
                    <a:pt x="2" y="0"/>
                  </a:lnTo>
                  <a:lnTo>
                    <a:pt x="0" y="7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7" name="Freeform 292">
              <a:extLst>
                <a:ext uri="{FF2B5EF4-FFF2-40B4-BE49-F238E27FC236}">
                  <a16:creationId xmlns:a16="http://schemas.microsoft.com/office/drawing/2014/main" xmlns="" id="{B589BB1C-76B2-4A7C-A584-4286EE984D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8" y="1242"/>
              <a:ext cx="28" cy="24"/>
            </a:xfrm>
            <a:custGeom>
              <a:avLst/>
              <a:gdLst>
                <a:gd name="T0" fmla="*/ 0 w 28"/>
                <a:gd name="T1" fmla="*/ 11 h 24"/>
                <a:gd name="T2" fmla="*/ 15 w 28"/>
                <a:gd name="T3" fmla="*/ 24 h 24"/>
                <a:gd name="T4" fmla="*/ 28 w 28"/>
                <a:gd name="T5" fmla="*/ 18 h 24"/>
                <a:gd name="T6" fmla="*/ 19 w 28"/>
                <a:gd name="T7" fmla="*/ 0 h 24"/>
                <a:gd name="T8" fmla="*/ 0 w 28"/>
                <a:gd name="T9" fmla="*/ 11 h 24"/>
                <a:gd name="T10" fmla="*/ 0 w 28"/>
                <a:gd name="T11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4">
                  <a:moveTo>
                    <a:pt x="0" y="11"/>
                  </a:moveTo>
                  <a:lnTo>
                    <a:pt x="15" y="24"/>
                  </a:lnTo>
                  <a:lnTo>
                    <a:pt x="28" y="18"/>
                  </a:lnTo>
                  <a:lnTo>
                    <a:pt x="19" y="0"/>
                  </a:lnTo>
                  <a:lnTo>
                    <a:pt x="0" y="11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8" name="Freeform 293">
              <a:extLst>
                <a:ext uri="{FF2B5EF4-FFF2-40B4-BE49-F238E27FC236}">
                  <a16:creationId xmlns:a16="http://schemas.microsoft.com/office/drawing/2014/main" xmlns="" id="{BAF0FE5B-FD14-477A-90AD-7A9FFCA62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" y="1210"/>
              <a:ext cx="24" cy="32"/>
            </a:xfrm>
            <a:custGeom>
              <a:avLst/>
              <a:gdLst>
                <a:gd name="T0" fmla="*/ 2 w 24"/>
                <a:gd name="T1" fmla="*/ 22 h 32"/>
                <a:gd name="T2" fmla="*/ 22 w 24"/>
                <a:gd name="T3" fmla="*/ 32 h 32"/>
                <a:gd name="T4" fmla="*/ 24 w 24"/>
                <a:gd name="T5" fmla="*/ 15 h 32"/>
                <a:gd name="T6" fmla="*/ 8 w 24"/>
                <a:gd name="T7" fmla="*/ 0 h 32"/>
                <a:gd name="T8" fmla="*/ 0 w 24"/>
                <a:gd name="T9" fmla="*/ 9 h 32"/>
                <a:gd name="T10" fmla="*/ 2 w 24"/>
                <a:gd name="T11" fmla="*/ 22 h 32"/>
                <a:gd name="T12" fmla="*/ 2 w 24"/>
                <a:gd name="T1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32">
                  <a:moveTo>
                    <a:pt x="2" y="22"/>
                  </a:moveTo>
                  <a:lnTo>
                    <a:pt x="22" y="32"/>
                  </a:lnTo>
                  <a:lnTo>
                    <a:pt x="24" y="15"/>
                  </a:lnTo>
                  <a:lnTo>
                    <a:pt x="8" y="0"/>
                  </a:lnTo>
                  <a:lnTo>
                    <a:pt x="0" y="9"/>
                  </a:lnTo>
                  <a:lnTo>
                    <a:pt x="2" y="22"/>
                  </a:lnTo>
                  <a:lnTo>
                    <a:pt x="2" y="2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9" name="Freeform 294">
              <a:extLst>
                <a:ext uri="{FF2B5EF4-FFF2-40B4-BE49-F238E27FC236}">
                  <a16:creationId xmlns:a16="http://schemas.microsoft.com/office/drawing/2014/main" xmlns="" id="{8EBF290C-D4D1-4677-8ED3-4DC293064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0" y="1286"/>
              <a:ext cx="18" cy="21"/>
            </a:xfrm>
            <a:custGeom>
              <a:avLst/>
              <a:gdLst>
                <a:gd name="T0" fmla="*/ 0 w 18"/>
                <a:gd name="T1" fmla="*/ 13 h 21"/>
                <a:gd name="T2" fmla="*/ 7 w 18"/>
                <a:gd name="T3" fmla="*/ 21 h 21"/>
                <a:gd name="T4" fmla="*/ 18 w 18"/>
                <a:gd name="T5" fmla="*/ 13 h 21"/>
                <a:gd name="T6" fmla="*/ 7 w 18"/>
                <a:gd name="T7" fmla="*/ 0 h 21"/>
                <a:gd name="T8" fmla="*/ 0 w 18"/>
                <a:gd name="T9" fmla="*/ 13 h 21"/>
                <a:gd name="T10" fmla="*/ 0 w 18"/>
                <a:gd name="T1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21">
                  <a:moveTo>
                    <a:pt x="0" y="13"/>
                  </a:moveTo>
                  <a:lnTo>
                    <a:pt x="7" y="21"/>
                  </a:lnTo>
                  <a:lnTo>
                    <a:pt x="18" y="13"/>
                  </a:lnTo>
                  <a:lnTo>
                    <a:pt x="7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0" name="Freeform 295">
              <a:extLst>
                <a:ext uri="{FF2B5EF4-FFF2-40B4-BE49-F238E27FC236}">
                  <a16:creationId xmlns:a16="http://schemas.microsoft.com/office/drawing/2014/main" xmlns="" id="{8D86FCD3-D0F3-467B-9693-4E51A38A4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04" y="1496"/>
              <a:ext cx="26" cy="30"/>
            </a:xfrm>
            <a:custGeom>
              <a:avLst/>
              <a:gdLst>
                <a:gd name="T0" fmla="*/ 0 w 26"/>
                <a:gd name="T1" fmla="*/ 15 h 30"/>
                <a:gd name="T2" fmla="*/ 15 w 26"/>
                <a:gd name="T3" fmla="*/ 30 h 30"/>
                <a:gd name="T4" fmla="*/ 26 w 26"/>
                <a:gd name="T5" fmla="*/ 19 h 30"/>
                <a:gd name="T6" fmla="*/ 22 w 26"/>
                <a:gd name="T7" fmla="*/ 4 h 30"/>
                <a:gd name="T8" fmla="*/ 9 w 26"/>
                <a:gd name="T9" fmla="*/ 0 h 30"/>
                <a:gd name="T10" fmla="*/ 0 w 26"/>
                <a:gd name="T11" fmla="*/ 15 h 30"/>
                <a:gd name="T12" fmla="*/ 0 w 26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30">
                  <a:moveTo>
                    <a:pt x="0" y="15"/>
                  </a:moveTo>
                  <a:lnTo>
                    <a:pt x="15" y="30"/>
                  </a:lnTo>
                  <a:lnTo>
                    <a:pt x="26" y="19"/>
                  </a:lnTo>
                  <a:lnTo>
                    <a:pt x="22" y="4"/>
                  </a:lnTo>
                  <a:lnTo>
                    <a:pt x="9" y="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1" name="Freeform 296">
              <a:extLst>
                <a:ext uri="{FF2B5EF4-FFF2-40B4-BE49-F238E27FC236}">
                  <a16:creationId xmlns:a16="http://schemas.microsoft.com/office/drawing/2014/main" xmlns="" id="{1E4CD347-F031-49FC-BB09-FE85AA4EC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515"/>
              <a:ext cx="15" cy="22"/>
            </a:xfrm>
            <a:custGeom>
              <a:avLst/>
              <a:gdLst>
                <a:gd name="T0" fmla="*/ 0 w 15"/>
                <a:gd name="T1" fmla="*/ 16 h 22"/>
                <a:gd name="T2" fmla="*/ 9 w 15"/>
                <a:gd name="T3" fmla="*/ 22 h 22"/>
                <a:gd name="T4" fmla="*/ 15 w 15"/>
                <a:gd name="T5" fmla="*/ 11 h 22"/>
                <a:gd name="T6" fmla="*/ 4 w 15"/>
                <a:gd name="T7" fmla="*/ 0 h 22"/>
                <a:gd name="T8" fmla="*/ 0 w 15"/>
                <a:gd name="T9" fmla="*/ 16 h 22"/>
                <a:gd name="T10" fmla="*/ 0 w 15"/>
                <a:gd name="T11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2">
                  <a:moveTo>
                    <a:pt x="0" y="16"/>
                  </a:moveTo>
                  <a:lnTo>
                    <a:pt x="9" y="22"/>
                  </a:lnTo>
                  <a:lnTo>
                    <a:pt x="15" y="11"/>
                  </a:lnTo>
                  <a:lnTo>
                    <a:pt x="4" y="0"/>
                  </a:lnTo>
                  <a:lnTo>
                    <a:pt x="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2" name="Freeform 297">
              <a:extLst>
                <a:ext uri="{FF2B5EF4-FFF2-40B4-BE49-F238E27FC236}">
                  <a16:creationId xmlns:a16="http://schemas.microsoft.com/office/drawing/2014/main" xmlns="" id="{9D914BA8-DBC6-48DF-B63F-98AAEE3EF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" y="1474"/>
              <a:ext cx="13" cy="20"/>
            </a:xfrm>
            <a:custGeom>
              <a:avLst/>
              <a:gdLst>
                <a:gd name="T0" fmla="*/ 0 w 13"/>
                <a:gd name="T1" fmla="*/ 13 h 20"/>
                <a:gd name="T2" fmla="*/ 9 w 13"/>
                <a:gd name="T3" fmla="*/ 20 h 20"/>
                <a:gd name="T4" fmla="*/ 13 w 13"/>
                <a:gd name="T5" fmla="*/ 9 h 20"/>
                <a:gd name="T6" fmla="*/ 0 w 13"/>
                <a:gd name="T7" fmla="*/ 0 h 20"/>
                <a:gd name="T8" fmla="*/ 0 w 13"/>
                <a:gd name="T9" fmla="*/ 13 h 20"/>
                <a:gd name="T10" fmla="*/ 0 w 13"/>
                <a:gd name="T1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" h="20">
                  <a:moveTo>
                    <a:pt x="0" y="13"/>
                  </a:moveTo>
                  <a:lnTo>
                    <a:pt x="9" y="20"/>
                  </a:lnTo>
                  <a:lnTo>
                    <a:pt x="13" y="9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3" name="Freeform 298">
              <a:extLst>
                <a:ext uri="{FF2B5EF4-FFF2-40B4-BE49-F238E27FC236}">
                  <a16:creationId xmlns:a16="http://schemas.microsoft.com/office/drawing/2014/main" xmlns="" id="{4EE051D5-42A2-4CF0-ACA9-4FD8EFC9D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6" y="1448"/>
              <a:ext cx="24" cy="24"/>
            </a:xfrm>
            <a:custGeom>
              <a:avLst/>
              <a:gdLst>
                <a:gd name="T0" fmla="*/ 4 w 24"/>
                <a:gd name="T1" fmla="*/ 15 h 24"/>
                <a:gd name="T2" fmla="*/ 15 w 24"/>
                <a:gd name="T3" fmla="*/ 24 h 24"/>
                <a:gd name="T4" fmla="*/ 24 w 24"/>
                <a:gd name="T5" fmla="*/ 11 h 24"/>
                <a:gd name="T6" fmla="*/ 8 w 24"/>
                <a:gd name="T7" fmla="*/ 0 h 24"/>
                <a:gd name="T8" fmla="*/ 0 w 24"/>
                <a:gd name="T9" fmla="*/ 5 h 24"/>
                <a:gd name="T10" fmla="*/ 4 w 24"/>
                <a:gd name="T11" fmla="*/ 15 h 24"/>
                <a:gd name="T12" fmla="*/ 4 w 24"/>
                <a:gd name="T13" fmla="*/ 1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4" y="15"/>
                  </a:moveTo>
                  <a:lnTo>
                    <a:pt x="15" y="24"/>
                  </a:lnTo>
                  <a:lnTo>
                    <a:pt x="24" y="11"/>
                  </a:lnTo>
                  <a:lnTo>
                    <a:pt x="8" y="0"/>
                  </a:lnTo>
                  <a:lnTo>
                    <a:pt x="0" y="5"/>
                  </a:lnTo>
                  <a:lnTo>
                    <a:pt x="4" y="15"/>
                  </a:lnTo>
                  <a:lnTo>
                    <a:pt x="4" y="15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4" name="Freeform 299">
              <a:extLst>
                <a:ext uri="{FF2B5EF4-FFF2-40B4-BE49-F238E27FC236}">
                  <a16:creationId xmlns:a16="http://schemas.microsoft.com/office/drawing/2014/main" xmlns="" id="{7C8F7678-A385-47F1-8FF2-33A0B201744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9" y="1362"/>
              <a:ext cx="38" cy="30"/>
            </a:xfrm>
            <a:custGeom>
              <a:avLst/>
              <a:gdLst>
                <a:gd name="T0" fmla="*/ 9 w 38"/>
                <a:gd name="T1" fmla="*/ 21 h 30"/>
                <a:gd name="T2" fmla="*/ 22 w 38"/>
                <a:gd name="T3" fmla="*/ 30 h 30"/>
                <a:gd name="T4" fmla="*/ 38 w 38"/>
                <a:gd name="T5" fmla="*/ 19 h 30"/>
                <a:gd name="T6" fmla="*/ 29 w 38"/>
                <a:gd name="T7" fmla="*/ 4 h 30"/>
                <a:gd name="T8" fmla="*/ 14 w 38"/>
                <a:gd name="T9" fmla="*/ 0 h 30"/>
                <a:gd name="T10" fmla="*/ 0 w 38"/>
                <a:gd name="T11" fmla="*/ 10 h 30"/>
                <a:gd name="T12" fmla="*/ 9 w 38"/>
                <a:gd name="T13" fmla="*/ 21 h 30"/>
                <a:gd name="T14" fmla="*/ 9 w 38"/>
                <a:gd name="T15" fmla="*/ 2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0">
                  <a:moveTo>
                    <a:pt x="9" y="21"/>
                  </a:moveTo>
                  <a:lnTo>
                    <a:pt x="22" y="30"/>
                  </a:lnTo>
                  <a:lnTo>
                    <a:pt x="38" y="19"/>
                  </a:lnTo>
                  <a:lnTo>
                    <a:pt x="29" y="4"/>
                  </a:lnTo>
                  <a:lnTo>
                    <a:pt x="14" y="0"/>
                  </a:lnTo>
                  <a:lnTo>
                    <a:pt x="0" y="10"/>
                  </a:lnTo>
                  <a:lnTo>
                    <a:pt x="9" y="21"/>
                  </a:lnTo>
                  <a:lnTo>
                    <a:pt x="9" y="2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5" name="Freeform 300">
              <a:extLst>
                <a:ext uri="{FF2B5EF4-FFF2-40B4-BE49-F238E27FC236}">
                  <a16:creationId xmlns:a16="http://schemas.microsoft.com/office/drawing/2014/main" xmlns="" id="{E4E9345C-3636-444A-A41D-46F2462E76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1" y="1327"/>
              <a:ext cx="17" cy="22"/>
            </a:xfrm>
            <a:custGeom>
              <a:avLst/>
              <a:gdLst>
                <a:gd name="T0" fmla="*/ 4 w 17"/>
                <a:gd name="T1" fmla="*/ 0 h 22"/>
                <a:gd name="T2" fmla="*/ 0 w 17"/>
                <a:gd name="T3" fmla="*/ 9 h 22"/>
                <a:gd name="T4" fmla="*/ 9 w 17"/>
                <a:gd name="T5" fmla="*/ 22 h 22"/>
                <a:gd name="T6" fmla="*/ 17 w 17"/>
                <a:gd name="T7" fmla="*/ 13 h 22"/>
                <a:gd name="T8" fmla="*/ 17 w 17"/>
                <a:gd name="T9" fmla="*/ 0 h 22"/>
                <a:gd name="T10" fmla="*/ 4 w 17"/>
                <a:gd name="T11" fmla="*/ 0 h 22"/>
                <a:gd name="T12" fmla="*/ 4 w 17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2">
                  <a:moveTo>
                    <a:pt x="4" y="0"/>
                  </a:moveTo>
                  <a:lnTo>
                    <a:pt x="0" y="9"/>
                  </a:lnTo>
                  <a:lnTo>
                    <a:pt x="9" y="22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6" name="Freeform 301">
              <a:extLst>
                <a:ext uri="{FF2B5EF4-FFF2-40B4-BE49-F238E27FC236}">
                  <a16:creationId xmlns:a16="http://schemas.microsoft.com/office/drawing/2014/main" xmlns="" id="{D341D1E8-C542-4759-8DC1-D6C8C9610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5" y="917"/>
              <a:ext cx="32" cy="35"/>
            </a:xfrm>
            <a:custGeom>
              <a:avLst/>
              <a:gdLst>
                <a:gd name="T0" fmla="*/ 2 w 32"/>
                <a:gd name="T1" fmla="*/ 9 h 35"/>
                <a:gd name="T2" fmla="*/ 0 w 32"/>
                <a:gd name="T3" fmla="*/ 22 h 35"/>
                <a:gd name="T4" fmla="*/ 15 w 32"/>
                <a:gd name="T5" fmla="*/ 35 h 35"/>
                <a:gd name="T6" fmla="*/ 32 w 32"/>
                <a:gd name="T7" fmla="*/ 35 h 35"/>
                <a:gd name="T8" fmla="*/ 32 w 32"/>
                <a:gd name="T9" fmla="*/ 18 h 35"/>
                <a:gd name="T10" fmla="*/ 19 w 32"/>
                <a:gd name="T11" fmla="*/ 0 h 35"/>
                <a:gd name="T12" fmla="*/ 2 w 32"/>
                <a:gd name="T13" fmla="*/ 9 h 35"/>
                <a:gd name="T14" fmla="*/ 2 w 32"/>
                <a:gd name="T15" fmla="*/ 9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35">
                  <a:moveTo>
                    <a:pt x="2" y="9"/>
                  </a:moveTo>
                  <a:lnTo>
                    <a:pt x="0" y="22"/>
                  </a:lnTo>
                  <a:lnTo>
                    <a:pt x="15" y="35"/>
                  </a:lnTo>
                  <a:lnTo>
                    <a:pt x="32" y="35"/>
                  </a:lnTo>
                  <a:lnTo>
                    <a:pt x="32" y="18"/>
                  </a:lnTo>
                  <a:lnTo>
                    <a:pt x="19" y="0"/>
                  </a:lnTo>
                  <a:lnTo>
                    <a:pt x="2" y="9"/>
                  </a:lnTo>
                  <a:lnTo>
                    <a:pt x="2" y="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7" name="Freeform 302">
              <a:extLst>
                <a:ext uri="{FF2B5EF4-FFF2-40B4-BE49-F238E27FC236}">
                  <a16:creationId xmlns:a16="http://schemas.microsoft.com/office/drawing/2014/main" xmlns="" id="{5ED4D17C-4FA0-4471-A57A-98742C960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" y="785"/>
              <a:ext cx="39" cy="41"/>
            </a:xfrm>
            <a:custGeom>
              <a:avLst/>
              <a:gdLst>
                <a:gd name="T0" fmla="*/ 2 w 39"/>
                <a:gd name="T1" fmla="*/ 37 h 41"/>
                <a:gd name="T2" fmla="*/ 20 w 39"/>
                <a:gd name="T3" fmla="*/ 41 h 41"/>
                <a:gd name="T4" fmla="*/ 39 w 39"/>
                <a:gd name="T5" fmla="*/ 37 h 41"/>
                <a:gd name="T6" fmla="*/ 28 w 39"/>
                <a:gd name="T7" fmla="*/ 11 h 41"/>
                <a:gd name="T8" fmla="*/ 13 w 39"/>
                <a:gd name="T9" fmla="*/ 0 h 41"/>
                <a:gd name="T10" fmla="*/ 2 w 39"/>
                <a:gd name="T11" fmla="*/ 9 h 41"/>
                <a:gd name="T12" fmla="*/ 0 w 39"/>
                <a:gd name="T13" fmla="*/ 26 h 41"/>
                <a:gd name="T14" fmla="*/ 2 w 39"/>
                <a:gd name="T15" fmla="*/ 37 h 41"/>
                <a:gd name="T16" fmla="*/ 2 w 39"/>
                <a:gd name="T17" fmla="*/ 3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9" h="41">
                  <a:moveTo>
                    <a:pt x="2" y="37"/>
                  </a:moveTo>
                  <a:lnTo>
                    <a:pt x="20" y="41"/>
                  </a:lnTo>
                  <a:lnTo>
                    <a:pt x="39" y="37"/>
                  </a:lnTo>
                  <a:lnTo>
                    <a:pt x="28" y="11"/>
                  </a:lnTo>
                  <a:lnTo>
                    <a:pt x="13" y="0"/>
                  </a:lnTo>
                  <a:lnTo>
                    <a:pt x="2" y="9"/>
                  </a:lnTo>
                  <a:lnTo>
                    <a:pt x="0" y="26"/>
                  </a:lnTo>
                  <a:lnTo>
                    <a:pt x="2" y="37"/>
                  </a:lnTo>
                  <a:lnTo>
                    <a:pt x="2" y="37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8" name="Freeform 303">
              <a:extLst>
                <a:ext uri="{FF2B5EF4-FFF2-40B4-BE49-F238E27FC236}">
                  <a16:creationId xmlns:a16="http://schemas.microsoft.com/office/drawing/2014/main" xmlns="" id="{D8848A0D-1FD6-4CD7-B8DE-FC8CA53909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68" y="2482"/>
              <a:ext cx="1155" cy="1229"/>
            </a:xfrm>
            <a:custGeom>
              <a:avLst/>
              <a:gdLst>
                <a:gd name="T0" fmla="*/ 525 w 1155"/>
                <a:gd name="T1" fmla="*/ 24 h 1229"/>
                <a:gd name="T2" fmla="*/ 505 w 1155"/>
                <a:gd name="T3" fmla="*/ 93 h 1229"/>
                <a:gd name="T4" fmla="*/ 509 w 1155"/>
                <a:gd name="T5" fmla="*/ 197 h 1229"/>
                <a:gd name="T6" fmla="*/ 481 w 1155"/>
                <a:gd name="T7" fmla="*/ 249 h 1229"/>
                <a:gd name="T8" fmla="*/ 435 w 1155"/>
                <a:gd name="T9" fmla="*/ 329 h 1229"/>
                <a:gd name="T10" fmla="*/ 490 w 1155"/>
                <a:gd name="T11" fmla="*/ 399 h 1229"/>
                <a:gd name="T12" fmla="*/ 477 w 1155"/>
                <a:gd name="T13" fmla="*/ 455 h 1229"/>
                <a:gd name="T14" fmla="*/ 488 w 1155"/>
                <a:gd name="T15" fmla="*/ 483 h 1229"/>
                <a:gd name="T16" fmla="*/ 418 w 1155"/>
                <a:gd name="T17" fmla="*/ 513 h 1229"/>
                <a:gd name="T18" fmla="*/ 357 w 1155"/>
                <a:gd name="T19" fmla="*/ 522 h 1229"/>
                <a:gd name="T20" fmla="*/ 283 w 1155"/>
                <a:gd name="T21" fmla="*/ 648 h 1229"/>
                <a:gd name="T22" fmla="*/ 228 w 1155"/>
                <a:gd name="T23" fmla="*/ 591 h 1229"/>
                <a:gd name="T24" fmla="*/ 95 w 1155"/>
                <a:gd name="T25" fmla="*/ 680 h 1229"/>
                <a:gd name="T26" fmla="*/ 124 w 1155"/>
                <a:gd name="T27" fmla="*/ 769 h 1229"/>
                <a:gd name="T28" fmla="*/ 61 w 1155"/>
                <a:gd name="T29" fmla="*/ 919 h 1229"/>
                <a:gd name="T30" fmla="*/ 58 w 1155"/>
                <a:gd name="T31" fmla="*/ 999 h 1229"/>
                <a:gd name="T32" fmla="*/ 185 w 1155"/>
                <a:gd name="T33" fmla="*/ 1064 h 1229"/>
                <a:gd name="T34" fmla="*/ 274 w 1155"/>
                <a:gd name="T35" fmla="*/ 1070 h 1229"/>
                <a:gd name="T36" fmla="*/ 420 w 1155"/>
                <a:gd name="T37" fmla="*/ 1170 h 1229"/>
                <a:gd name="T38" fmla="*/ 466 w 1155"/>
                <a:gd name="T39" fmla="*/ 1207 h 1229"/>
                <a:gd name="T40" fmla="*/ 477 w 1155"/>
                <a:gd name="T41" fmla="*/ 1194 h 1229"/>
                <a:gd name="T42" fmla="*/ 468 w 1155"/>
                <a:gd name="T43" fmla="*/ 1172 h 1229"/>
                <a:gd name="T44" fmla="*/ 557 w 1155"/>
                <a:gd name="T45" fmla="*/ 1125 h 1229"/>
                <a:gd name="T46" fmla="*/ 618 w 1155"/>
                <a:gd name="T47" fmla="*/ 1042 h 1229"/>
                <a:gd name="T48" fmla="*/ 666 w 1155"/>
                <a:gd name="T49" fmla="*/ 968 h 1229"/>
                <a:gd name="T50" fmla="*/ 686 w 1155"/>
                <a:gd name="T51" fmla="*/ 819 h 1229"/>
                <a:gd name="T52" fmla="*/ 714 w 1155"/>
                <a:gd name="T53" fmla="*/ 747 h 1229"/>
                <a:gd name="T54" fmla="*/ 682 w 1155"/>
                <a:gd name="T55" fmla="*/ 698 h 1229"/>
                <a:gd name="T56" fmla="*/ 738 w 1155"/>
                <a:gd name="T57" fmla="*/ 663 h 1229"/>
                <a:gd name="T58" fmla="*/ 821 w 1155"/>
                <a:gd name="T59" fmla="*/ 628 h 1229"/>
                <a:gd name="T60" fmla="*/ 882 w 1155"/>
                <a:gd name="T61" fmla="*/ 663 h 1229"/>
                <a:gd name="T62" fmla="*/ 1004 w 1155"/>
                <a:gd name="T63" fmla="*/ 600 h 1229"/>
                <a:gd name="T64" fmla="*/ 1089 w 1155"/>
                <a:gd name="T65" fmla="*/ 611 h 1229"/>
                <a:gd name="T66" fmla="*/ 1087 w 1155"/>
                <a:gd name="T67" fmla="*/ 520 h 1229"/>
                <a:gd name="T68" fmla="*/ 1104 w 1155"/>
                <a:gd name="T69" fmla="*/ 451 h 1229"/>
                <a:gd name="T70" fmla="*/ 1043 w 1155"/>
                <a:gd name="T71" fmla="*/ 351 h 1229"/>
                <a:gd name="T72" fmla="*/ 924 w 1155"/>
                <a:gd name="T73" fmla="*/ 282 h 1229"/>
                <a:gd name="T74" fmla="*/ 834 w 1155"/>
                <a:gd name="T75" fmla="*/ 438 h 1229"/>
                <a:gd name="T76" fmla="*/ 788 w 1155"/>
                <a:gd name="T77" fmla="*/ 440 h 1229"/>
                <a:gd name="T78" fmla="*/ 673 w 1155"/>
                <a:gd name="T79" fmla="*/ 433 h 1229"/>
                <a:gd name="T80" fmla="*/ 679 w 1155"/>
                <a:gd name="T81" fmla="*/ 347 h 1229"/>
                <a:gd name="T82" fmla="*/ 651 w 1155"/>
                <a:gd name="T83" fmla="*/ 230 h 1229"/>
                <a:gd name="T84" fmla="*/ 634 w 1155"/>
                <a:gd name="T85" fmla="*/ 156 h 1229"/>
                <a:gd name="T86" fmla="*/ 597 w 1155"/>
                <a:gd name="T87" fmla="*/ 69 h 1229"/>
                <a:gd name="T88" fmla="*/ 568 w 1155"/>
                <a:gd name="T89" fmla="*/ 39 h 1229"/>
                <a:gd name="T90" fmla="*/ 573 w 1155"/>
                <a:gd name="T91" fmla="*/ 0 h 1229"/>
                <a:gd name="T92" fmla="*/ 383 w 1155"/>
                <a:gd name="T93" fmla="*/ 1012 h 1229"/>
                <a:gd name="T94" fmla="*/ 403 w 1155"/>
                <a:gd name="T95" fmla="*/ 971 h 1229"/>
                <a:gd name="T96" fmla="*/ 472 w 1155"/>
                <a:gd name="T97" fmla="*/ 981 h 1229"/>
                <a:gd name="T98" fmla="*/ 520 w 1155"/>
                <a:gd name="T99" fmla="*/ 1010 h 1229"/>
                <a:gd name="T100" fmla="*/ 549 w 1155"/>
                <a:gd name="T101" fmla="*/ 1012 h 1229"/>
                <a:gd name="T102" fmla="*/ 509 w 1155"/>
                <a:gd name="T103" fmla="*/ 1096 h 1229"/>
                <a:gd name="T104" fmla="*/ 442 w 1155"/>
                <a:gd name="T105" fmla="*/ 1079 h 1229"/>
                <a:gd name="T106" fmla="*/ 366 w 1155"/>
                <a:gd name="T107" fmla="*/ 1044 h 1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5" h="1229">
                  <a:moveTo>
                    <a:pt x="573" y="0"/>
                  </a:moveTo>
                  <a:lnTo>
                    <a:pt x="557" y="15"/>
                  </a:lnTo>
                  <a:lnTo>
                    <a:pt x="557" y="15"/>
                  </a:lnTo>
                  <a:lnTo>
                    <a:pt x="557" y="15"/>
                  </a:lnTo>
                  <a:lnTo>
                    <a:pt x="525" y="24"/>
                  </a:lnTo>
                  <a:lnTo>
                    <a:pt x="494" y="37"/>
                  </a:lnTo>
                  <a:lnTo>
                    <a:pt x="496" y="69"/>
                  </a:lnTo>
                  <a:lnTo>
                    <a:pt x="505" y="91"/>
                  </a:lnTo>
                  <a:lnTo>
                    <a:pt x="505" y="91"/>
                  </a:lnTo>
                  <a:lnTo>
                    <a:pt x="505" y="93"/>
                  </a:lnTo>
                  <a:lnTo>
                    <a:pt x="488" y="130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5" y="156"/>
                  </a:lnTo>
                  <a:lnTo>
                    <a:pt x="509" y="197"/>
                  </a:lnTo>
                  <a:lnTo>
                    <a:pt x="509" y="197"/>
                  </a:lnTo>
                  <a:lnTo>
                    <a:pt x="507" y="197"/>
                  </a:lnTo>
                  <a:lnTo>
                    <a:pt x="481" y="247"/>
                  </a:lnTo>
                  <a:lnTo>
                    <a:pt x="481" y="247"/>
                  </a:lnTo>
                  <a:lnTo>
                    <a:pt x="481" y="249"/>
                  </a:lnTo>
                  <a:lnTo>
                    <a:pt x="438" y="275"/>
                  </a:lnTo>
                  <a:lnTo>
                    <a:pt x="455" y="301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35" y="329"/>
                  </a:lnTo>
                  <a:lnTo>
                    <a:pt x="446" y="362"/>
                  </a:lnTo>
                  <a:lnTo>
                    <a:pt x="483" y="373"/>
                  </a:lnTo>
                  <a:lnTo>
                    <a:pt x="483" y="375"/>
                  </a:lnTo>
                  <a:lnTo>
                    <a:pt x="483" y="375"/>
                  </a:lnTo>
                  <a:lnTo>
                    <a:pt x="490" y="399"/>
                  </a:lnTo>
                  <a:lnTo>
                    <a:pt x="490" y="401"/>
                  </a:lnTo>
                  <a:lnTo>
                    <a:pt x="490" y="401"/>
                  </a:lnTo>
                  <a:lnTo>
                    <a:pt x="462" y="429"/>
                  </a:lnTo>
                  <a:lnTo>
                    <a:pt x="459" y="451"/>
                  </a:lnTo>
                  <a:lnTo>
                    <a:pt x="477" y="455"/>
                  </a:lnTo>
                  <a:lnTo>
                    <a:pt x="479" y="455"/>
                  </a:lnTo>
                  <a:lnTo>
                    <a:pt x="479" y="455"/>
                  </a:lnTo>
                  <a:lnTo>
                    <a:pt x="488" y="481"/>
                  </a:lnTo>
                  <a:lnTo>
                    <a:pt x="488" y="483"/>
                  </a:lnTo>
                  <a:lnTo>
                    <a:pt x="488" y="483"/>
                  </a:lnTo>
                  <a:lnTo>
                    <a:pt x="466" y="505"/>
                  </a:lnTo>
                  <a:lnTo>
                    <a:pt x="457" y="535"/>
                  </a:lnTo>
                  <a:lnTo>
                    <a:pt x="457" y="537"/>
                  </a:lnTo>
                  <a:lnTo>
                    <a:pt x="455" y="535"/>
                  </a:lnTo>
                  <a:lnTo>
                    <a:pt x="418" y="513"/>
                  </a:lnTo>
                  <a:lnTo>
                    <a:pt x="416" y="513"/>
                  </a:lnTo>
                  <a:lnTo>
                    <a:pt x="416" y="511"/>
                  </a:lnTo>
                  <a:lnTo>
                    <a:pt x="398" y="472"/>
                  </a:lnTo>
                  <a:lnTo>
                    <a:pt x="363" y="490"/>
                  </a:lnTo>
                  <a:lnTo>
                    <a:pt x="357" y="522"/>
                  </a:lnTo>
                  <a:lnTo>
                    <a:pt x="357" y="522"/>
                  </a:lnTo>
                  <a:lnTo>
                    <a:pt x="357" y="524"/>
                  </a:lnTo>
                  <a:lnTo>
                    <a:pt x="281" y="607"/>
                  </a:lnTo>
                  <a:lnTo>
                    <a:pt x="283" y="646"/>
                  </a:lnTo>
                  <a:lnTo>
                    <a:pt x="283" y="648"/>
                  </a:lnTo>
                  <a:lnTo>
                    <a:pt x="283" y="648"/>
                  </a:lnTo>
                  <a:lnTo>
                    <a:pt x="261" y="656"/>
                  </a:lnTo>
                  <a:lnTo>
                    <a:pt x="259" y="656"/>
                  </a:lnTo>
                  <a:lnTo>
                    <a:pt x="259" y="654"/>
                  </a:lnTo>
                  <a:lnTo>
                    <a:pt x="228" y="591"/>
                  </a:lnTo>
                  <a:lnTo>
                    <a:pt x="209" y="617"/>
                  </a:lnTo>
                  <a:lnTo>
                    <a:pt x="209" y="620"/>
                  </a:lnTo>
                  <a:lnTo>
                    <a:pt x="207" y="620"/>
                  </a:lnTo>
                  <a:lnTo>
                    <a:pt x="126" y="622"/>
                  </a:lnTo>
                  <a:lnTo>
                    <a:pt x="95" y="680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30" y="737"/>
                  </a:lnTo>
                  <a:lnTo>
                    <a:pt x="124" y="769"/>
                  </a:lnTo>
                  <a:lnTo>
                    <a:pt x="124" y="769"/>
                  </a:lnTo>
                  <a:lnTo>
                    <a:pt x="122" y="769"/>
                  </a:lnTo>
                  <a:lnTo>
                    <a:pt x="87" y="776"/>
                  </a:lnTo>
                  <a:lnTo>
                    <a:pt x="67" y="812"/>
                  </a:lnTo>
                  <a:lnTo>
                    <a:pt x="61" y="916"/>
                  </a:lnTo>
                  <a:lnTo>
                    <a:pt x="61" y="919"/>
                  </a:lnTo>
                  <a:lnTo>
                    <a:pt x="58" y="919"/>
                  </a:lnTo>
                  <a:lnTo>
                    <a:pt x="24" y="914"/>
                  </a:lnTo>
                  <a:lnTo>
                    <a:pt x="0" y="925"/>
                  </a:lnTo>
                  <a:lnTo>
                    <a:pt x="0" y="947"/>
                  </a:lnTo>
                  <a:lnTo>
                    <a:pt x="58" y="999"/>
                  </a:lnTo>
                  <a:lnTo>
                    <a:pt x="146" y="1059"/>
                  </a:lnTo>
                  <a:lnTo>
                    <a:pt x="180" y="1057"/>
                  </a:lnTo>
                  <a:lnTo>
                    <a:pt x="183" y="1057"/>
                  </a:lnTo>
                  <a:lnTo>
                    <a:pt x="183" y="1057"/>
                  </a:lnTo>
                  <a:lnTo>
                    <a:pt x="185" y="1064"/>
                  </a:lnTo>
                  <a:lnTo>
                    <a:pt x="207" y="1064"/>
                  </a:lnTo>
                  <a:lnTo>
                    <a:pt x="246" y="1036"/>
                  </a:lnTo>
                  <a:lnTo>
                    <a:pt x="248" y="1036"/>
                  </a:lnTo>
                  <a:lnTo>
                    <a:pt x="250" y="1036"/>
                  </a:lnTo>
                  <a:lnTo>
                    <a:pt x="274" y="1070"/>
                  </a:lnTo>
                  <a:lnTo>
                    <a:pt x="353" y="1131"/>
                  </a:lnTo>
                  <a:lnTo>
                    <a:pt x="390" y="1131"/>
                  </a:lnTo>
                  <a:lnTo>
                    <a:pt x="390" y="1131"/>
                  </a:lnTo>
                  <a:lnTo>
                    <a:pt x="392" y="1133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0" y="1170"/>
                  </a:lnTo>
                  <a:lnTo>
                    <a:pt x="425" y="1198"/>
                  </a:lnTo>
                  <a:lnTo>
                    <a:pt x="464" y="1207"/>
                  </a:lnTo>
                  <a:lnTo>
                    <a:pt x="466" y="1207"/>
                  </a:lnTo>
                  <a:lnTo>
                    <a:pt x="466" y="1209"/>
                  </a:lnTo>
                  <a:lnTo>
                    <a:pt x="470" y="1229"/>
                  </a:lnTo>
                  <a:lnTo>
                    <a:pt x="507" y="1218"/>
                  </a:lnTo>
                  <a:lnTo>
                    <a:pt x="514" y="1194"/>
                  </a:lnTo>
                  <a:lnTo>
                    <a:pt x="477" y="1194"/>
                  </a:lnTo>
                  <a:lnTo>
                    <a:pt x="475" y="1194"/>
                  </a:lnTo>
                  <a:lnTo>
                    <a:pt x="475" y="1192"/>
                  </a:lnTo>
                  <a:lnTo>
                    <a:pt x="466" y="1174"/>
                  </a:lnTo>
                  <a:lnTo>
                    <a:pt x="466" y="1174"/>
                  </a:lnTo>
                  <a:lnTo>
                    <a:pt x="468" y="1172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486" y="1161"/>
                  </a:lnTo>
                  <a:lnTo>
                    <a:pt x="509" y="1159"/>
                  </a:lnTo>
                  <a:lnTo>
                    <a:pt x="557" y="1125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575" y="1099"/>
                  </a:lnTo>
                  <a:lnTo>
                    <a:pt x="612" y="1066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18" y="1042"/>
                  </a:lnTo>
                  <a:lnTo>
                    <a:pt x="640" y="1007"/>
                  </a:lnTo>
                  <a:lnTo>
                    <a:pt x="640" y="1007"/>
                  </a:lnTo>
                  <a:lnTo>
                    <a:pt x="666" y="968"/>
                  </a:lnTo>
                  <a:lnTo>
                    <a:pt x="688" y="908"/>
                  </a:lnTo>
                  <a:lnTo>
                    <a:pt x="688" y="908"/>
                  </a:lnTo>
                  <a:lnTo>
                    <a:pt x="703" y="860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86" y="819"/>
                  </a:lnTo>
                  <a:lnTo>
                    <a:pt x="690" y="776"/>
                  </a:lnTo>
                  <a:lnTo>
                    <a:pt x="690" y="776"/>
                  </a:lnTo>
                  <a:lnTo>
                    <a:pt x="690" y="773"/>
                  </a:lnTo>
                  <a:lnTo>
                    <a:pt x="714" y="747"/>
                  </a:lnTo>
                  <a:lnTo>
                    <a:pt x="688" y="726"/>
                  </a:lnTo>
                  <a:lnTo>
                    <a:pt x="686" y="726"/>
                  </a:lnTo>
                  <a:lnTo>
                    <a:pt x="686" y="724"/>
                  </a:lnTo>
                  <a:lnTo>
                    <a:pt x="682" y="700"/>
                  </a:lnTo>
                  <a:lnTo>
                    <a:pt x="682" y="698"/>
                  </a:lnTo>
                  <a:lnTo>
                    <a:pt x="684" y="698"/>
                  </a:lnTo>
                  <a:lnTo>
                    <a:pt x="730" y="691"/>
                  </a:lnTo>
                  <a:lnTo>
                    <a:pt x="736" y="665"/>
                  </a:lnTo>
                  <a:lnTo>
                    <a:pt x="736" y="661"/>
                  </a:lnTo>
                  <a:lnTo>
                    <a:pt x="738" y="663"/>
                  </a:lnTo>
                  <a:lnTo>
                    <a:pt x="762" y="672"/>
                  </a:lnTo>
                  <a:lnTo>
                    <a:pt x="806" y="656"/>
                  </a:lnTo>
                  <a:lnTo>
                    <a:pt x="819" y="630"/>
                  </a:lnTo>
                  <a:lnTo>
                    <a:pt x="819" y="628"/>
                  </a:lnTo>
                  <a:lnTo>
                    <a:pt x="821" y="628"/>
                  </a:lnTo>
                  <a:lnTo>
                    <a:pt x="843" y="641"/>
                  </a:lnTo>
                  <a:lnTo>
                    <a:pt x="865" y="641"/>
                  </a:lnTo>
                  <a:lnTo>
                    <a:pt x="865" y="641"/>
                  </a:lnTo>
                  <a:lnTo>
                    <a:pt x="867" y="641"/>
                  </a:lnTo>
                  <a:lnTo>
                    <a:pt x="882" y="663"/>
                  </a:lnTo>
                  <a:lnTo>
                    <a:pt x="974" y="637"/>
                  </a:lnTo>
                  <a:lnTo>
                    <a:pt x="982" y="598"/>
                  </a:lnTo>
                  <a:lnTo>
                    <a:pt x="985" y="598"/>
                  </a:lnTo>
                  <a:lnTo>
                    <a:pt x="987" y="598"/>
                  </a:lnTo>
                  <a:lnTo>
                    <a:pt x="1004" y="600"/>
                  </a:lnTo>
                  <a:lnTo>
                    <a:pt x="1026" y="574"/>
                  </a:lnTo>
                  <a:lnTo>
                    <a:pt x="1030" y="570"/>
                  </a:lnTo>
                  <a:lnTo>
                    <a:pt x="1030" y="576"/>
                  </a:lnTo>
                  <a:lnTo>
                    <a:pt x="1033" y="604"/>
                  </a:lnTo>
                  <a:lnTo>
                    <a:pt x="1089" y="611"/>
                  </a:lnTo>
                  <a:lnTo>
                    <a:pt x="1122" y="589"/>
                  </a:lnTo>
                  <a:lnTo>
                    <a:pt x="1124" y="548"/>
                  </a:lnTo>
                  <a:lnTo>
                    <a:pt x="1089" y="522"/>
                  </a:lnTo>
                  <a:lnTo>
                    <a:pt x="1087" y="522"/>
                  </a:lnTo>
                  <a:lnTo>
                    <a:pt x="1087" y="520"/>
                  </a:lnTo>
                  <a:lnTo>
                    <a:pt x="1085" y="468"/>
                  </a:lnTo>
                  <a:lnTo>
                    <a:pt x="1085" y="466"/>
                  </a:lnTo>
                  <a:lnTo>
                    <a:pt x="1085" y="466"/>
                  </a:lnTo>
                  <a:lnTo>
                    <a:pt x="1104" y="451"/>
                  </a:lnTo>
                  <a:lnTo>
                    <a:pt x="1104" y="451"/>
                  </a:lnTo>
                  <a:lnTo>
                    <a:pt x="1107" y="451"/>
                  </a:lnTo>
                  <a:lnTo>
                    <a:pt x="1155" y="448"/>
                  </a:lnTo>
                  <a:lnTo>
                    <a:pt x="1109" y="349"/>
                  </a:lnTo>
                  <a:lnTo>
                    <a:pt x="1085" y="331"/>
                  </a:lnTo>
                  <a:lnTo>
                    <a:pt x="1043" y="351"/>
                  </a:lnTo>
                  <a:lnTo>
                    <a:pt x="1041" y="351"/>
                  </a:lnTo>
                  <a:lnTo>
                    <a:pt x="1039" y="349"/>
                  </a:lnTo>
                  <a:lnTo>
                    <a:pt x="1024" y="303"/>
                  </a:lnTo>
                  <a:lnTo>
                    <a:pt x="958" y="277"/>
                  </a:lnTo>
                  <a:lnTo>
                    <a:pt x="924" y="282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71" y="394"/>
                  </a:lnTo>
                  <a:lnTo>
                    <a:pt x="836" y="435"/>
                  </a:lnTo>
                  <a:lnTo>
                    <a:pt x="834" y="438"/>
                  </a:lnTo>
                  <a:lnTo>
                    <a:pt x="832" y="435"/>
                  </a:lnTo>
                  <a:lnTo>
                    <a:pt x="808" y="412"/>
                  </a:lnTo>
                  <a:lnTo>
                    <a:pt x="791" y="440"/>
                  </a:lnTo>
                  <a:lnTo>
                    <a:pt x="791" y="440"/>
                  </a:lnTo>
                  <a:lnTo>
                    <a:pt x="788" y="440"/>
                  </a:lnTo>
                  <a:lnTo>
                    <a:pt x="741" y="442"/>
                  </a:lnTo>
                  <a:lnTo>
                    <a:pt x="708" y="468"/>
                  </a:lnTo>
                  <a:lnTo>
                    <a:pt x="706" y="468"/>
                  </a:lnTo>
                  <a:lnTo>
                    <a:pt x="706" y="468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3" y="433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679" y="347"/>
                  </a:lnTo>
                  <a:lnTo>
                    <a:pt x="708" y="279"/>
                  </a:lnTo>
                  <a:lnTo>
                    <a:pt x="671" y="269"/>
                  </a:lnTo>
                  <a:lnTo>
                    <a:pt x="671" y="269"/>
                  </a:lnTo>
                  <a:lnTo>
                    <a:pt x="669" y="269"/>
                  </a:lnTo>
                  <a:lnTo>
                    <a:pt x="651" y="230"/>
                  </a:lnTo>
                  <a:lnTo>
                    <a:pt x="651" y="227"/>
                  </a:lnTo>
                  <a:lnTo>
                    <a:pt x="651" y="227"/>
                  </a:lnTo>
                  <a:lnTo>
                    <a:pt x="664" y="173"/>
                  </a:lnTo>
                  <a:lnTo>
                    <a:pt x="636" y="156"/>
                  </a:lnTo>
                  <a:lnTo>
                    <a:pt x="634" y="156"/>
                  </a:lnTo>
                  <a:lnTo>
                    <a:pt x="634" y="154"/>
                  </a:lnTo>
                  <a:lnTo>
                    <a:pt x="636" y="100"/>
                  </a:lnTo>
                  <a:lnTo>
                    <a:pt x="614" y="58"/>
                  </a:lnTo>
                  <a:lnTo>
                    <a:pt x="597" y="69"/>
                  </a:lnTo>
                  <a:lnTo>
                    <a:pt x="597" y="69"/>
                  </a:lnTo>
                  <a:lnTo>
                    <a:pt x="594" y="69"/>
                  </a:lnTo>
                  <a:lnTo>
                    <a:pt x="571" y="69"/>
                  </a:lnTo>
                  <a:lnTo>
                    <a:pt x="568" y="67"/>
                  </a:lnTo>
                  <a:lnTo>
                    <a:pt x="568" y="67"/>
                  </a:lnTo>
                  <a:lnTo>
                    <a:pt x="568" y="39"/>
                  </a:lnTo>
                  <a:lnTo>
                    <a:pt x="568" y="37"/>
                  </a:lnTo>
                  <a:lnTo>
                    <a:pt x="568" y="37"/>
                  </a:lnTo>
                  <a:lnTo>
                    <a:pt x="588" y="24"/>
                  </a:lnTo>
                  <a:lnTo>
                    <a:pt x="573" y="0"/>
                  </a:lnTo>
                  <a:lnTo>
                    <a:pt x="573" y="0"/>
                  </a:lnTo>
                  <a:close/>
                  <a:moveTo>
                    <a:pt x="366" y="1042"/>
                  </a:moveTo>
                  <a:lnTo>
                    <a:pt x="361" y="1020"/>
                  </a:lnTo>
                  <a:lnTo>
                    <a:pt x="361" y="1020"/>
                  </a:lnTo>
                  <a:lnTo>
                    <a:pt x="363" y="1018"/>
                  </a:lnTo>
                  <a:lnTo>
                    <a:pt x="383" y="1012"/>
                  </a:lnTo>
                  <a:lnTo>
                    <a:pt x="374" y="981"/>
                  </a:lnTo>
                  <a:lnTo>
                    <a:pt x="374" y="979"/>
                  </a:lnTo>
                  <a:lnTo>
                    <a:pt x="377" y="979"/>
                  </a:lnTo>
                  <a:lnTo>
                    <a:pt x="401" y="971"/>
                  </a:lnTo>
                  <a:lnTo>
                    <a:pt x="403" y="971"/>
                  </a:lnTo>
                  <a:lnTo>
                    <a:pt x="403" y="971"/>
                  </a:lnTo>
                  <a:lnTo>
                    <a:pt x="422" y="1010"/>
                  </a:lnTo>
                  <a:lnTo>
                    <a:pt x="470" y="981"/>
                  </a:lnTo>
                  <a:lnTo>
                    <a:pt x="470" y="979"/>
                  </a:lnTo>
                  <a:lnTo>
                    <a:pt x="472" y="981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488" y="1005"/>
                  </a:lnTo>
                  <a:lnTo>
                    <a:pt x="503" y="1016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20" y="1010"/>
                  </a:lnTo>
                  <a:lnTo>
                    <a:pt x="547" y="1010"/>
                  </a:lnTo>
                  <a:lnTo>
                    <a:pt x="549" y="1010"/>
                  </a:lnTo>
                  <a:lnTo>
                    <a:pt x="549" y="1012"/>
                  </a:lnTo>
                  <a:lnTo>
                    <a:pt x="562" y="1031"/>
                  </a:lnTo>
                  <a:lnTo>
                    <a:pt x="562" y="1031"/>
                  </a:lnTo>
                  <a:lnTo>
                    <a:pt x="560" y="1033"/>
                  </a:lnTo>
                  <a:lnTo>
                    <a:pt x="512" y="1096"/>
                  </a:lnTo>
                  <a:lnTo>
                    <a:pt x="509" y="1096"/>
                  </a:lnTo>
                  <a:lnTo>
                    <a:pt x="509" y="1096"/>
                  </a:lnTo>
                  <a:lnTo>
                    <a:pt x="479" y="1075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42" y="1079"/>
                  </a:lnTo>
                  <a:lnTo>
                    <a:pt x="420" y="1064"/>
                  </a:lnTo>
                  <a:lnTo>
                    <a:pt x="420" y="1064"/>
                  </a:lnTo>
                  <a:lnTo>
                    <a:pt x="394" y="1046"/>
                  </a:lnTo>
                  <a:lnTo>
                    <a:pt x="368" y="1044"/>
                  </a:lnTo>
                  <a:lnTo>
                    <a:pt x="366" y="1044"/>
                  </a:lnTo>
                  <a:lnTo>
                    <a:pt x="366" y="1042"/>
                  </a:lnTo>
                  <a:lnTo>
                    <a:pt x="366" y="1042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9" name="Freeform 304">
              <a:extLst>
                <a:ext uri="{FF2B5EF4-FFF2-40B4-BE49-F238E27FC236}">
                  <a16:creationId xmlns:a16="http://schemas.microsoft.com/office/drawing/2014/main" xmlns="" id="{6C469161-835B-4084-88F8-464F4765F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4" y="3457"/>
              <a:ext cx="191" cy="117"/>
            </a:xfrm>
            <a:custGeom>
              <a:avLst/>
              <a:gdLst>
                <a:gd name="T0" fmla="*/ 0 w 191"/>
                <a:gd name="T1" fmla="*/ 48 h 117"/>
                <a:gd name="T2" fmla="*/ 4 w 191"/>
                <a:gd name="T3" fmla="*/ 65 h 117"/>
                <a:gd name="T4" fmla="*/ 28 w 191"/>
                <a:gd name="T5" fmla="*/ 67 h 117"/>
                <a:gd name="T6" fmla="*/ 30 w 191"/>
                <a:gd name="T7" fmla="*/ 67 h 117"/>
                <a:gd name="T8" fmla="*/ 30 w 191"/>
                <a:gd name="T9" fmla="*/ 67 h 117"/>
                <a:gd name="T10" fmla="*/ 30 w 191"/>
                <a:gd name="T11" fmla="*/ 67 h 117"/>
                <a:gd name="T12" fmla="*/ 30 w 191"/>
                <a:gd name="T13" fmla="*/ 67 h 117"/>
                <a:gd name="T14" fmla="*/ 30 w 191"/>
                <a:gd name="T15" fmla="*/ 67 h 117"/>
                <a:gd name="T16" fmla="*/ 56 w 191"/>
                <a:gd name="T17" fmla="*/ 87 h 117"/>
                <a:gd name="T18" fmla="*/ 76 w 191"/>
                <a:gd name="T19" fmla="*/ 100 h 117"/>
                <a:gd name="T20" fmla="*/ 113 w 191"/>
                <a:gd name="T21" fmla="*/ 95 h 117"/>
                <a:gd name="T22" fmla="*/ 113 w 191"/>
                <a:gd name="T23" fmla="*/ 95 h 117"/>
                <a:gd name="T24" fmla="*/ 115 w 191"/>
                <a:gd name="T25" fmla="*/ 95 h 117"/>
                <a:gd name="T26" fmla="*/ 115 w 191"/>
                <a:gd name="T27" fmla="*/ 95 h 117"/>
                <a:gd name="T28" fmla="*/ 115 w 191"/>
                <a:gd name="T29" fmla="*/ 98 h 117"/>
                <a:gd name="T30" fmla="*/ 143 w 191"/>
                <a:gd name="T31" fmla="*/ 117 h 117"/>
                <a:gd name="T32" fmla="*/ 191 w 191"/>
                <a:gd name="T33" fmla="*/ 56 h 117"/>
                <a:gd name="T34" fmla="*/ 178 w 191"/>
                <a:gd name="T35" fmla="*/ 39 h 117"/>
                <a:gd name="T36" fmla="*/ 157 w 191"/>
                <a:gd name="T37" fmla="*/ 39 h 117"/>
                <a:gd name="T38" fmla="*/ 137 w 191"/>
                <a:gd name="T39" fmla="*/ 45 h 117"/>
                <a:gd name="T40" fmla="*/ 137 w 191"/>
                <a:gd name="T41" fmla="*/ 45 h 117"/>
                <a:gd name="T42" fmla="*/ 135 w 191"/>
                <a:gd name="T43" fmla="*/ 48 h 117"/>
                <a:gd name="T44" fmla="*/ 135 w 191"/>
                <a:gd name="T45" fmla="*/ 45 h 117"/>
                <a:gd name="T46" fmla="*/ 133 w 191"/>
                <a:gd name="T47" fmla="*/ 45 h 117"/>
                <a:gd name="T48" fmla="*/ 120 w 191"/>
                <a:gd name="T49" fmla="*/ 32 h 117"/>
                <a:gd name="T50" fmla="*/ 120 w 191"/>
                <a:gd name="T51" fmla="*/ 32 h 117"/>
                <a:gd name="T52" fmla="*/ 120 w 191"/>
                <a:gd name="T53" fmla="*/ 32 h 117"/>
                <a:gd name="T54" fmla="*/ 120 w 191"/>
                <a:gd name="T55" fmla="*/ 32 h 117"/>
                <a:gd name="T56" fmla="*/ 120 w 191"/>
                <a:gd name="T57" fmla="*/ 32 h 117"/>
                <a:gd name="T58" fmla="*/ 120 w 191"/>
                <a:gd name="T59" fmla="*/ 32 h 117"/>
                <a:gd name="T60" fmla="*/ 104 w 191"/>
                <a:gd name="T61" fmla="*/ 11 h 117"/>
                <a:gd name="T62" fmla="*/ 59 w 191"/>
                <a:gd name="T63" fmla="*/ 37 h 117"/>
                <a:gd name="T64" fmla="*/ 56 w 191"/>
                <a:gd name="T65" fmla="*/ 39 h 117"/>
                <a:gd name="T66" fmla="*/ 54 w 191"/>
                <a:gd name="T67" fmla="*/ 39 h 117"/>
                <a:gd name="T68" fmla="*/ 54 w 191"/>
                <a:gd name="T69" fmla="*/ 39 h 117"/>
                <a:gd name="T70" fmla="*/ 52 w 191"/>
                <a:gd name="T71" fmla="*/ 37 h 117"/>
                <a:gd name="T72" fmla="*/ 35 w 191"/>
                <a:gd name="T73" fmla="*/ 0 h 117"/>
                <a:gd name="T74" fmla="*/ 13 w 191"/>
                <a:gd name="T75" fmla="*/ 9 h 117"/>
                <a:gd name="T76" fmla="*/ 21 w 191"/>
                <a:gd name="T77" fmla="*/ 37 h 117"/>
                <a:gd name="T78" fmla="*/ 21 w 191"/>
                <a:gd name="T79" fmla="*/ 39 h 117"/>
                <a:gd name="T80" fmla="*/ 24 w 191"/>
                <a:gd name="T81" fmla="*/ 41 h 117"/>
                <a:gd name="T82" fmla="*/ 21 w 191"/>
                <a:gd name="T83" fmla="*/ 41 h 117"/>
                <a:gd name="T84" fmla="*/ 19 w 191"/>
                <a:gd name="T85" fmla="*/ 41 h 117"/>
                <a:gd name="T86" fmla="*/ 0 w 191"/>
                <a:gd name="T87" fmla="*/ 48 h 117"/>
                <a:gd name="T88" fmla="*/ 0 w 191"/>
                <a:gd name="T89" fmla="*/ 4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91" h="117">
                  <a:moveTo>
                    <a:pt x="0" y="48"/>
                  </a:moveTo>
                  <a:lnTo>
                    <a:pt x="4" y="65"/>
                  </a:lnTo>
                  <a:lnTo>
                    <a:pt x="28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56" y="87"/>
                  </a:lnTo>
                  <a:lnTo>
                    <a:pt x="76" y="100"/>
                  </a:lnTo>
                  <a:lnTo>
                    <a:pt x="113" y="95"/>
                  </a:lnTo>
                  <a:lnTo>
                    <a:pt x="113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8"/>
                  </a:lnTo>
                  <a:lnTo>
                    <a:pt x="143" y="117"/>
                  </a:lnTo>
                  <a:lnTo>
                    <a:pt x="191" y="56"/>
                  </a:lnTo>
                  <a:lnTo>
                    <a:pt x="178" y="39"/>
                  </a:lnTo>
                  <a:lnTo>
                    <a:pt x="157" y="39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5" y="48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04" y="11"/>
                  </a:lnTo>
                  <a:lnTo>
                    <a:pt x="59" y="37"/>
                  </a:lnTo>
                  <a:lnTo>
                    <a:pt x="56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2" y="37"/>
                  </a:lnTo>
                  <a:lnTo>
                    <a:pt x="35" y="0"/>
                  </a:lnTo>
                  <a:lnTo>
                    <a:pt x="13" y="9"/>
                  </a:lnTo>
                  <a:lnTo>
                    <a:pt x="21" y="37"/>
                  </a:lnTo>
                  <a:lnTo>
                    <a:pt x="21" y="39"/>
                  </a:lnTo>
                  <a:lnTo>
                    <a:pt x="24" y="41"/>
                  </a:lnTo>
                  <a:lnTo>
                    <a:pt x="21" y="41"/>
                  </a:lnTo>
                  <a:lnTo>
                    <a:pt x="19" y="41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0" name="Freeform 305">
              <a:extLst>
                <a:ext uri="{FF2B5EF4-FFF2-40B4-BE49-F238E27FC236}">
                  <a16:creationId xmlns:a16="http://schemas.microsoft.com/office/drawing/2014/main" xmlns="" id="{3316D6A5-7FCD-4C04-8A71-26B9F96DC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2935"/>
              <a:ext cx="725" cy="912"/>
            </a:xfrm>
            <a:custGeom>
              <a:avLst/>
              <a:gdLst>
                <a:gd name="T0" fmla="*/ 37 w 725"/>
                <a:gd name="T1" fmla="*/ 899 h 912"/>
                <a:gd name="T2" fmla="*/ 318 w 725"/>
                <a:gd name="T3" fmla="*/ 851 h 912"/>
                <a:gd name="T4" fmla="*/ 446 w 725"/>
                <a:gd name="T5" fmla="*/ 769 h 912"/>
                <a:gd name="T6" fmla="*/ 616 w 725"/>
                <a:gd name="T7" fmla="*/ 782 h 912"/>
                <a:gd name="T8" fmla="*/ 656 w 725"/>
                <a:gd name="T9" fmla="*/ 665 h 912"/>
                <a:gd name="T10" fmla="*/ 684 w 725"/>
                <a:gd name="T11" fmla="*/ 468 h 912"/>
                <a:gd name="T12" fmla="*/ 725 w 725"/>
                <a:gd name="T13" fmla="*/ 368 h 912"/>
                <a:gd name="T14" fmla="*/ 677 w 725"/>
                <a:gd name="T15" fmla="*/ 294 h 912"/>
                <a:gd name="T16" fmla="*/ 664 w 725"/>
                <a:gd name="T17" fmla="*/ 253 h 912"/>
                <a:gd name="T18" fmla="*/ 629 w 725"/>
                <a:gd name="T19" fmla="*/ 201 h 912"/>
                <a:gd name="T20" fmla="*/ 610 w 725"/>
                <a:gd name="T21" fmla="*/ 169 h 912"/>
                <a:gd name="T22" fmla="*/ 568 w 725"/>
                <a:gd name="T23" fmla="*/ 188 h 912"/>
                <a:gd name="T24" fmla="*/ 544 w 725"/>
                <a:gd name="T25" fmla="*/ 162 h 912"/>
                <a:gd name="T26" fmla="*/ 510 w 725"/>
                <a:gd name="T27" fmla="*/ 112 h 912"/>
                <a:gd name="T28" fmla="*/ 401 w 725"/>
                <a:gd name="T29" fmla="*/ 2 h 912"/>
                <a:gd name="T30" fmla="*/ 420 w 725"/>
                <a:gd name="T31" fmla="*/ 91 h 912"/>
                <a:gd name="T32" fmla="*/ 420 w 725"/>
                <a:gd name="T33" fmla="*/ 138 h 912"/>
                <a:gd name="T34" fmla="*/ 385 w 725"/>
                <a:gd name="T35" fmla="*/ 162 h 912"/>
                <a:gd name="T36" fmla="*/ 327 w 725"/>
                <a:gd name="T37" fmla="*/ 154 h 912"/>
                <a:gd name="T38" fmla="*/ 327 w 725"/>
                <a:gd name="T39" fmla="*/ 193 h 912"/>
                <a:gd name="T40" fmla="*/ 390 w 725"/>
                <a:gd name="T41" fmla="*/ 281 h 912"/>
                <a:gd name="T42" fmla="*/ 420 w 725"/>
                <a:gd name="T43" fmla="*/ 312 h 912"/>
                <a:gd name="T44" fmla="*/ 425 w 725"/>
                <a:gd name="T45" fmla="*/ 353 h 912"/>
                <a:gd name="T46" fmla="*/ 374 w 725"/>
                <a:gd name="T47" fmla="*/ 372 h 912"/>
                <a:gd name="T48" fmla="*/ 355 w 725"/>
                <a:gd name="T49" fmla="*/ 418 h 912"/>
                <a:gd name="T50" fmla="*/ 324 w 725"/>
                <a:gd name="T51" fmla="*/ 507 h 912"/>
                <a:gd name="T52" fmla="*/ 322 w 725"/>
                <a:gd name="T53" fmla="*/ 541 h 912"/>
                <a:gd name="T54" fmla="*/ 296 w 725"/>
                <a:gd name="T55" fmla="*/ 574 h 912"/>
                <a:gd name="T56" fmla="*/ 263 w 725"/>
                <a:gd name="T57" fmla="*/ 589 h 912"/>
                <a:gd name="T58" fmla="*/ 250 w 725"/>
                <a:gd name="T59" fmla="*/ 609 h 912"/>
                <a:gd name="T60" fmla="*/ 152 w 725"/>
                <a:gd name="T61" fmla="*/ 689 h 912"/>
                <a:gd name="T62" fmla="*/ 85 w 725"/>
                <a:gd name="T63" fmla="*/ 715 h 912"/>
                <a:gd name="T64" fmla="*/ 28 w 725"/>
                <a:gd name="T65" fmla="*/ 715 h 912"/>
                <a:gd name="T66" fmla="*/ 37 w 725"/>
                <a:gd name="T67" fmla="*/ 750 h 912"/>
                <a:gd name="T68" fmla="*/ 41 w 725"/>
                <a:gd name="T69" fmla="*/ 810 h 912"/>
                <a:gd name="T70" fmla="*/ 0 w 725"/>
                <a:gd name="T71" fmla="*/ 862 h 912"/>
                <a:gd name="T72" fmla="*/ 266 w 725"/>
                <a:gd name="T73" fmla="*/ 702 h 912"/>
                <a:gd name="T74" fmla="*/ 268 w 725"/>
                <a:gd name="T75" fmla="*/ 700 h 912"/>
                <a:gd name="T76" fmla="*/ 346 w 725"/>
                <a:gd name="T77" fmla="*/ 659 h 912"/>
                <a:gd name="T78" fmla="*/ 351 w 725"/>
                <a:gd name="T79" fmla="*/ 654 h 912"/>
                <a:gd name="T80" fmla="*/ 379 w 725"/>
                <a:gd name="T81" fmla="*/ 635 h 912"/>
                <a:gd name="T82" fmla="*/ 381 w 725"/>
                <a:gd name="T83" fmla="*/ 633 h 912"/>
                <a:gd name="T84" fmla="*/ 414 w 725"/>
                <a:gd name="T85" fmla="*/ 628 h 912"/>
                <a:gd name="T86" fmla="*/ 414 w 725"/>
                <a:gd name="T87" fmla="*/ 626 h 912"/>
                <a:gd name="T88" fmla="*/ 416 w 725"/>
                <a:gd name="T89" fmla="*/ 628 h 912"/>
                <a:gd name="T90" fmla="*/ 455 w 725"/>
                <a:gd name="T91" fmla="*/ 652 h 912"/>
                <a:gd name="T92" fmla="*/ 453 w 725"/>
                <a:gd name="T93" fmla="*/ 654 h 912"/>
                <a:gd name="T94" fmla="*/ 449 w 725"/>
                <a:gd name="T95" fmla="*/ 680 h 912"/>
                <a:gd name="T96" fmla="*/ 429 w 725"/>
                <a:gd name="T97" fmla="*/ 685 h 912"/>
                <a:gd name="T98" fmla="*/ 459 w 725"/>
                <a:gd name="T99" fmla="*/ 715 h 912"/>
                <a:gd name="T100" fmla="*/ 457 w 725"/>
                <a:gd name="T101" fmla="*/ 719 h 912"/>
                <a:gd name="T102" fmla="*/ 333 w 725"/>
                <a:gd name="T103" fmla="*/ 780 h 912"/>
                <a:gd name="T104" fmla="*/ 329 w 725"/>
                <a:gd name="T105" fmla="*/ 778 h 912"/>
                <a:gd name="T106" fmla="*/ 255 w 725"/>
                <a:gd name="T107" fmla="*/ 732 h 912"/>
                <a:gd name="T108" fmla="*/ 257 w 725"/>
                <a:gd name="T109" fmla="*/ 730 h 9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25" h="912">
                  <a:moveTo>
                    <a:pt x="0" y="862"/>
                  </a:moveTo>
                  <a:lnTo>
                    <a:pt x="17" y="862"/>
                  </a:lnTo>
                  <a:lnTo>
                    <a:pt x="37" y="899"/>
                  </a:lnTo>
                  <a:lnTo>
                    <a:pt x="187" y="912"/>
                  </a:lnTo>
                  <a:lnTo>
                    <a:pt x="287" y="851"/>
                  </a:lnTo>
                  <a:lnTo>
                    <a:pt x="318" y="851"/>
                  </a:lnTo>
                  <a:lnTo>
                    <a:pt x="329" y="819"/>
                  </a:lnTo>
                  <a:lnTo>
                    <a:pt x="377" y="773"/>
                  </a:lnTo>
                  <a:lnTo>
                    <a:pt x="446" y="769"/>
                  </a:lnTo>
                  <a:lnTo>
                    <a:pt x="466" y="789"/>
                  </a:lnTo>
                  <a:lnTo>
                    <a:pt x="494" y="763"/>
                  </a:lnTo>
                  <a:lnTo>
                    <a:pt x="616" y="782"/>
                  </a:lnTo>
                  <a:lnTo>
                    <a:pt x="632" y="737"/>
                  </a:lnTo>
                  <a:lnTo>
                    <a:pt x="673" y="708"/>
                  </a:lnTo>
                  <a:lnTo>
                    <a:pt x="656" y="665"/>
                  </a:lnTo>
                  <a:lnTo>
                    <a:pt x="675" y="552"/>
                  </a:lnTo>
                  <a:lnTo>
                    <a:pt x="706" y="522"/>
                  </a:lnTo>
                  <a:lnTo>
                    <a:pt x="684" y="468"/>
                  </a:lnTo>
                  <a:lnTo>
                    <a:pt x="643" y="463"/>
                  </a:lnTo>
                  <a:lnTo>
                    <a:pt x="673" y="407"/>
                  </a:lnTo>
                  <a:lnTo>
                    <a:pt x="725" y="368"/>
                  </a:lnTo>
                  <a:lnTo>
                    <a:pt x="677" y="297"/>
                  </a:lnTo>
                  <a:lnTo>
                    <a:pt x="677" y="294"/>
                  </a:lnTo>
                  <a:lnTo>
                    <a:pt x="677" y="294"/>
                  </a:lnTo>
                  <a:lnTo>
                    <a:pt x="695" y="271"/>
                  </a:lnTo>
                  <a:lnTo>
                    <a:pt x="664" y="253"/>
                  </a:lnTo>
                  <a:lnTo>
                    <a:pt x="664" y="253"/>
                  </a:lnTo>
                  <a:lnTo>
                    <a:pt x="664" y="251"/>
                  </a:lnTo>
                  <a:lnTo>
                    <a:pt x="660" y="195"/>
                  </a:lnTo>
                  <a:lnTo>
                    <a:pt x="629" y="201"/>
                  </a:lnTo>
                  <a:lnTo>
                    <a:pt x="629" y="201"/>
                  </a:lnTo>
                  <a:lnTo>
                    <a:pt x="627" y="201"/>
                  </a:lnTo>
                  <a:lnTo>
                    <a:pt x="610" y="169"/>
                  </a:lnTo>
                  <a:lnTo>
                    <a:pt x="571" y="190"/>
                  </a:lnTo>
                  <a:lnTo>
                    <a:pt x="571" y="190"/>
                  </a:lnTo>
                  <a:lnTo>
                    <a:pt x="568" y="188"/>
                  </a:lnTo>
                  <a:lnTo>
                    <a:pt x="544" y="167"/>
                  </a:lnTo>
                  <a:lnTo>
                    <a:pt x="544" y="164"/>
                  </a:lnTo>
                  <a:lnTo>
                    <a:pt x="544" y="162"/>
                  </a:lnTo>
                  <a:lnTo>
                    <a:pt x="558" y="145"/>
                  </a:lnTo>
                  <a:lnTo>
                    <a:pt x="512" y="112"/>
                  </a:lnTo>
                  <a:lnTo>
                    <a:pt x="510" y="112"/>
                  </a:lnTo>
                  <a:lnTo>
                    <a:pt x="510" y="112"/>
                  </a:lnTo>
                  <a:lnTo>
                    <a:pt x="451" y="0"/>
                  </a:lnTo>
                  <a:lnTo>
                    <a:pt x="401" y="2"/>
                  </a:lnTo>
                  <a:lnTo>
                    <a:pt x="383" y="15"/>
                  </a:lnTo>
                  <a:lnTo>
                    <a:pt x="385" y="67"/>
                  </a:lnTo>
                  <a:lnTo>
                    <a:pt x="420" y="91"/>
                  </a:lnTo>
                  <a:lnTo>
                    <a:pt x="422" y="93"/>
                  </a:lnTo>
                  <a:lnTo>
                    <a:pt x="422" y="93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385" y="162"/>
                  </a:lnTo>
                  <a:lnTo>
                    <a:pt x="385" y="164"/>
                  </a:lnTo>
                  <a:lnTo>
                    <a:pt x="383" y="162"/>
                  </a:lnTo>
                  <a:lnTo>
                    <a:pt x="327" y="154"/>
                  </a:lnTo>
                  <a:lnTo>
                    <a:pt x="311" y="177"/>
                  </a:lnTo>
                  <a:lnTo>
                    <a:pt x="327" y="193"/>
                  </a:lnTo>
                  <a:lnTo>
                    <a:pt x="327" y="193"/>
                  </a:lnTo>
                  <a:lnTo>
                    <a:pt x="329" y="193"/>
                  </a:lnTo>
                  <a:lnTo>
                    <a:pt x="355" y="277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84"/>
                  </a:lnTo>
                  <a:lnTo>
                    <a:pt x="420" y="312"/>
                  </a:lnTo>
                  <a:lnTo>
                    <a:pt x="422" y="312"/>
                  </a:lnTo>
                  <a:lnTo>
                    <a:pt x="422" y="312"/>
                  </a:lnTo>
                  <a:lnTo>
                    <a:pt x="425" y="353"/>
                  </a:lnTo>
                  <a:lnTo>
                    <a:pt x="425" y="355"/>
                  </a:lnTo>
                  <a:lnTo>
                    <a:pt x="422" y="355"/>
                  </a:lnTo>
                  <a:lnTo>
                    <a:pt x="374" y="372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355" y="418"/>
                  </a:lnTo>
                  <a:lnTo>
                    <a:pt x="298" y="461"/>
                  </a:lnTo>
                  <a:lnTo>
                    <a:pt x="298" y="489"/>
                  </a:lnTo>
                  <a:lnTo>
                    <a:pt x="324" y="507"/>
                  </a:lnTo>
                  <a:lnTo>
                    <a:pt x="324" y="507"/>
                  </a:lnTo>
                  <a:lnTo>
                    <a:pt x="324" y="509"/>
                  </a:lnTo>
                  <a:lnTo>
                    <a:pt x="322" y="541"/>
                  </a:lnTo>
                  <a:lnTo>
                    <a:pt x="322" y="544"/>
                  </a:lnTo>
                  <a:lnTo>
                    <a:pt x="322" y="544"/>
                  </a:lnTo>
                  <a:lnTo>
                    <a:pt x="296" y="574"/>
                  </a:lnTo>
                  <a:lnTo>
                    <a:pt x="296" y="576"/>
                  </a:lnTo>
                  <a:lnTo>
                    <a:pt x="296" y="576"/>
                  </a:lnTo>
                  <a:lnTo>
                    <a:pt x="263" y="589"/>
                  </a:lnTo>
                  <a:lnTo>
                    <a:pt x="252" y="606"/>
                  </a:lnTo>
                  <a:lnTo>
                    <a:pt x="250" y="609"/>
                  </a:lnTo>
                  <a:lnTo>
                    <a:pt x="250" y="609"/>
                  </a:lnTo>
                  <a:lnTo>
                    <a:pt x="211" y="611"/>
                  </a:lnTo>
                  <a:lnTo>
                    <a:pt x="152" y="689"/>
                  </a:lnTo>
                  <a:lnTo>
                    <a:pt x="152" y="689"/>
                  </a:lnTo>
                  <a:lnTo>
                    <a:pt x="150" y="689"/>
                  </a:lnTo>
                  <a:lnTo>
                    <a:pt x="120" y="685"/>
                  </a:lnTo>
                  <a:lnTo>
                    <a:pt x="85" y="715"/>
                  </a:lnTo>
                  <a:lnTo>
                    <a:pt x="82" y="715"/>
                  </a:lnTo>
                  <a:lnTo>
                    <a:pt x="82" y="715"/>
                  </a:lnTo>
                  <a:lnTo>
                    <a:pt x="28" y="715"/>
                  </a:lnTo>
                  <a:lnTo>
                    <a:pt x="39" y="747"/>
                  </a:lnTo>
                  <a:lnTo>
                    <a:pt x="39" y="750"/>
                  </a:lnTo>
                  <a:lnTo>
                    <a:pt x="37" y="750"/>
                  </a:lnTo>
                  <a:lnTo>
                    <a:pt x="8" y="773"/>
                  </a:lnTo>
                  <a:lnTo>
                    <a:pt x="39" y="808"/>
                  </a:lnTo>
                  <a:lnTo>
                    <a:pt x="41" y="810"/>
                  </a:lnTo>
                  <a:lnTo>
                    <a:pt x="39" y="810"/>
                  </a:lnTo>
                  <a:lnTo>
                    <a:pt x="8" y="828"/>
                  </a:lnTo>
                  <a:lnTo>
                    <a:pt x="0" y="862"/>
                  </a:lnTo>
                  <a:lnTo>
                    <a:pt x="0" y="862"/>
                  </a:lnTo>
                  <a:close/>
                  <a:moveTo>
                    <a:pt x="257" y="730"/>
                  </a:moveTo>
                  <a:lnTo>
                    <a:pt x="266" y="702"/>
                  </a:lnTo>
                  <a:lnTo>
                    <a:pt x="268" y="702"/>
                  </a:lnTo>
                  <a:lnTo>
                    <a:pt x="268" y="700"/>
                  </a:lnTo>
                  <a:lnTo>
                    <a:pt x="268" y="700"/>
                  </a:lnTo>
                  <a:lnTo>
                    <a:pt x="270" y="700"/>
                  </a:lnTo>
                  <a:lnTo>
                    <a:pt x="329" y="693"/>
                  </a:lnTo>
                  <a:lnTo>
                    <a:pt x="346" y="659"/>
                  </a:lnTo>
                  <a:lnTo>
                    <a:pt x="346" y="654"/>
                  </a:lnTo>
                  <a:lnTo>
                    <a:pt x="348" y="652"/>
                  </a:lnTo>
                  <a:lnTo>
                    <a:pt x="351" y="654"/>
                  </a:lnTo>
                  <a:lnTo>
                    <a:pt x="353" y="656"/>
                  </a:lnTo>
                  <a:lnTo>
                    <a:pt x="366" y="669"/>
                  </a:lnTo>
                  <a:lnTo>
                    <a:pt x="379" y="635"/>
                  </a:lnTo>
                  <a:lnTo>
                    <a:pt x="381" y="635"/>
                  </a:lnTo>
                  <a:lnTo>
                    <a:pt x="381" y="633"/>
                  </a:lnTo>
                  <a:lnTo>
                    <a:pt x="381" y="633"/>
                  </a:lnTo>
                  <a:lnTo>
                    <a:pt x="383" y="633"/>
                  </a:lnTo>
                  <a:lnTo>
                    <a:pt x="383" y="633"/>
                  </a:lnTo>
                  <a:lnTo>
                    <a:pt x="414" y="628"/>
                  </a:lnTo>
                  <a:lnTo>
                    <a:pt x="414" y="628"/>
                  </a:lnTo>
                  <a:lnTo>
                    <a:pt x="414" y="626"/>
                  </a:lnTo>
                  <a:lnTo>
                    <a:pt x="414" y="626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16" y="628"/>
                  </a:lnTo>
                  <a:lnTo>
                    <a:pt x="451" y="650"/>
                  </a:lnTo>
                  <a:lnTo>
                    <a:pt x="453" y="650"/>
                  </a:lnTo>
                  <a:lnTo>
                    <a:pt x="455" y="652"/>
                  </a:lnTo>
                  <a:lnTo>
                    <a:pt x="453" y="652"/>
                  </a:lnTo>
                  <a:lnTo>
                    <a:pt x="453" y="654"/>
                  </a:lnTo>
                  <a:lnTo>
                    <a:pt x="453" y="654"/>
                  </a:lnTo>
                  <a:lnTo>
                    <a:pt x="449" y="678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6" y="680"/>
                  </a:lnTo>
                  <a:lnTo>
                    <a:pt x="446" y="682"/>
                  </a:lnTo>
                  <a:lnTo>
                    <a:pt x="429" y="685"/>
                  </a:lnTo>
                  <a:lnTo>
                    <a:pt x="457" y="713"/>
                  </a:lnTo>
                  <a:lnTo>
                    <a:pt x="457" y="713"/>
                  </a:lnTo>
                  <a:lnTo>
                    <a:pt x="459" y="715"/>
                  </a:lnTo>
                  <a:lnTo>
                    <a:pt x="464" y="717"/>
                  </a:lnTo>
                  <a:lnTo>
                    <a:pt x="459" y="719"/>
                  </a:lnTo>
                  <a:lnTo>
                    <a:pt x="457" y="719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3" y="780"/>
                  </a:lnTo>
                  <a:lnTo>
                    <a:pt x="331" y="780"/>
                  </a:lnTo>
                  <a:lnTo>
                    <a:pt x="331" y="780"/>
                  </a:lnTo>
                  <a:lnTo>
                    <a:pt x="329" y="778"/>
                  </a:lnTo>
                  <a:lnTo>
                    <a:pt x="257" y="734"/>
                  </a:lnTo>
                  <a:lnTo>
                    <a:pt x="257" y="734"/>
                  </a:lnTo>
                  <a:lnTo>
                    <a:pt x="255" y="732"/>
                  </a:lnTo>
                  <a:lnTo>
                    <a:pt x="255" y="730"/>
                  </a:lnTo>
                  <a:lnTo>
                    <a:pt x="257" y="730"/>
                  </a:lnTo>
                  <a:lnTo>
                    <a:pt x="257" y="73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1" name="Freeform 306">
              <a:extLst>
                <a:ext uri="{FF2B5EF4-FFF2-40B4-BE49-F238E27FC236}">
                  <a16:creationId xmlns:a16="http://schemas.microsoft.com/office/drawing/2014/main" xmlns="" id="{49BC393B-CF4F-4F83-82F1-58A65A33EB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" y="3565"/>
              <a:ext cx="196" cy="146"/>
            </a:xfrm>
            <a:custGeom>
              <a:avLst/>
              <a:gdLst>
                <a:gd name="T0" fmla="*/ 11 w 196"/>
                <a:gd name="T1" fmla="*/ 74 h 146"/>
                <a:gd name="T2" fmla="*/ 0 w 196"/>
                <a:gd name="T3" fmla="*/ 100 h 146"/>
                <a:gd name="T4" fmla="*/ 72 w 196"/>
                <a:gd name="T5" fmla="*/ 146 h 146"/>
                <a:gd name="T6" fmla="*/ 196 w 196"/>
                <a:gd name="T7" fmla="*/ 85 h 146"/>
                <a:gd name="T8" fmla="*/ 196 w 196"/>
                <a:gd name="T9" fmla="*/ 85 h 146"/>
                <a:gd name="T10" fmla="*/ 196 w 196"/>
                <a:gd name="T11" fmla="*/ 85 h 146"/>
                <a:gd name="T12" fmla="*/ 163 w 196"/>
                <a:gd name="T13" fmla="*/ 57 h 146"/>
                <a:gd name="T14" fmla="*/ 161 w 196"/>
                <a:gd name="T15" fmla="*/ 52 h 146"/>
                <a:gd name="T16" fmla="*/ 166 w 196"/>
                <a:gd name="T17" fmla="*/ 52 h 146"/>
                <a:gd name="T18" fmla="*/ 185 w 196"/>
                <a:gd name="T19" fmla="*/ 48 h 146"/>
                <a:gd name="T20" fmla="*/ 190 w 196"/>
                <a:gd name="T21" fmla="*/ 24 h 146"/>
                <a:gd name="T22" fmla="*/ 155 w 196"/>
                <a:gd name="T23" fmla="*/ 0 h 146"/>
                <a:gd name="T24" fmla="*/ 124 w 196"/>
                <a:gd name="T25" fmla="*/ 7 h 146"/>
                <a:gd name="T26" fmla="*/ 109 w 196"/>
                <a:gd name="T27" fmla="*/ 44 h 146"/>
                <a:gd name="T28" fmla="*/ 109 w 196"/>
                <a:gd name="T29" fmla="*/ 46 h 146"/>
                <a:gd name="T30" fmla="*/ 107 w 196"/>
                <a:gd name="T31" fmla="*/ 44 h 146"/>
                <a:gd name="T32" fmla="*/ 92 w 196"/>
                <a:gd name="T33" fmla="*/ 29 h 146"/>
                <a:gd name="T34" fmla="*/ 74 w 196"/>
                <a:gd name="T35" fmla="*/ 65 h 146"/>
                <a:gd name="T36" fmla="*/ 72 w 196"/>
                <a:gd name="T37" fmla="*/ 68 h 146"/>
                <a:gd name="T38" fmla="*/ 72 w 196"/>
                <a:gd name="T39" fmla="*/ 68 h 146"/>
                <a:gd name="T40" fmla="*/ 11 w 196"/>
                <a:gd name="T41" fmla="*/ 74 h 146"/>
                <a:gd name="T42" fmla="*/ 11 w 196"/>
                <a:gd name="T43" fmla="*/ 7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6" h="146">
                  <a:moveTo>
                    <a:pt x="11" y="74"/>
                  </a:moveTo>
                  <a:lnTo>
                    <a:pt x="0" y="100"/>
                  </a:lnTo>
                  <a:lnTo>
                    <a:pt x="72" y="146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96" y="85"/>
                  </a:lnTo>
                  <a:lnTo>
                    <a:pt x="163" y="57"/>
                  </a:lnTo>
                  <a:lnTo>
                    <a:pt x="161" y="52"/>
                  </a:lnTo>
                  <a:lnTo>
                    <a:pt x="166" y="52"/>
                  </a:lnTo>
                  <a:lnTo>
                    <a:pt x="185" y="48"/>
                  </a:lnTo>
                  <a:lnTo>
                    <a:pt x="190" y="24"/>
                  </a:lnTo>
                  <a:lnTo>
                    <a:pt x="155" y="0"/>
                  </a:lnTo>
                  <a:lnTo>
                    <a:pt x="124" y="7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7" y="44"/>
                  </a:lnTo>
                  <a:lnTo>
                    <a:pt x="92" y="29"/>
                  </a:lnTo>
                  <a:lnTo>
                    <a:pt x="74" y="65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11" y="74"/>
                  </a:lnTo>
                  <a:lnTo>
                    <a:pt x="11" y="7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2" name="Freeform 307">
              <a:extLst>
                <a:ext uri="{FF2B5EF4-FFF2-40B4-BE49-F238E27FC236}">
                  <a16:creationId xmlns:a16="http://schemas.microsoft.com/office/drawing/2014/main" xmlns="" id="{0AA2F89A-DB9C-46C6-B05B-0C5729FD2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2" y="1190"/>
              <a:ext cx="1087" cy="2453"/>
            </a:xfrm>
            <a:custGeom>
              <a:avLst/>
              <a:gdLst>
                <a:gd name="T0" fmla="*/ 937 w 1087"/>
                <a:gd name="T1" fmla="*/ 1272 h 2453"/>
                <a:gd name="T2" fmla="*/ 974 w 1087"/>
                <a:gd name="T3" fmla="*/ 1199 h 2453"/>
                <a:gd name="T4" fmla="*/ 943 w 1087"/>
                <a:gd name="T5" fmla="*/ 1108 h 2453"/>
                <a:gd name="T6" fmla="*/ 926 w 1087"/>
                <a:gd name="T7" fmla="*/ 1047 h 2453"/>
                <a:gd name="T8" fmla="*/ 930 w 1087"/>
                <a:gd name="T9" fmla="*/ 793 h 2453"/>
                <a:gd name="T10" fmla="*/ 1013 w 1087"/>
                <a:gd name="T11" fmla="*/ 711 h 2453"/>
                <a:gd name="T12" fmla="*/ 1030 w 1087"/>
                <a:gd name="T13" fmla="*/ 663 h 2453"/>
                <a:gd name="T14" fmla="*/ 1063 w 1087"/>
                <a:gd name="T15" fmla="*/ 544 h 2453"/>
                <a:gd name="T16" fmla="*/ 991 w 1087"/>
                <a:gd name="T17" fmla="*/ 421 h 2453"/>
                <a:gd name="T18" fmla="*/ 928 w 1087"/>
                <a:gd name="T19" fmla="*/ 440 h 2453"/>
                <a:gd name="T20" fmla="*/ 1013 w 1087"/>
                <a:gd name="T21" fmla="*/ 250 h 2453"/>
                <a:gd name="T22" fmla="*/ 843 w 1087"/>
                <a:gd name="T23" fmla="*/ 120 h 2453"/>
                <a:gd name="T24" fmla="*/ 762 w 1087"/>
                <a:gd name="T25" fmla="*/ 11 h 2453"/>
                <a:gd name="T26" fmla="*/ 693 w 1087"/>
                <a:gd name="T27" fmla="*/ 172 h 2453"/>
                <a:gd name="T28" fmla="*/ 525 w 1087"/>
                <a:gd name="T29" fmla="*/ 156 h 2453"/>
                <a:gd name="T30" fmla="*/ 335 w 1087"/>
                <a:gd name="T31" fmla="*/ 267 h 2453"/>
                <a:gd name="T32" fmla="*/ 156 w 1087"/>
                <a:gd name="T33" fmla="*/ 354 h 2453"/>
                <a:gd name="T34" fmla="*/ 141 w 1087"/>
                <a:gd name="T35" fmla="*/ 538 h 2453"/>
                <a:gd name="T36" fmla="*/ 98 w 1087"/>
                <a:gd name="T37" fmla="*/ 525 h 2453"/>
                <a:gd name="T38" fmla="*/ 87 w 1087"/>
                <a:gd name="T39" fmla="*/ 622 h 2453"/>
                <a:gd name="T40" fmla="*/ 15 w 1087"/>
                <a:gd name="T41" fmla="*/ 679 h 2453"/>
                <a:gd name="T42" fmla="*/ 95 w 1087"/>
                <a:gd name="T43" fmla="*/ 778 h 2453"/>
                <a:gd name="T44" fmla="*/ 87 w 1087"/>
                <a:gd name="T45" fmla="*/ 884 h 2453"/>
                <a:gd name="T46" fmla="*/ 56 w 1087"/>
                <a:gd name="T47" fmla="*/ 930 h 2453"/>
                <a:gd name="T48" fmla="*/ 67 w 1087"/>
                <a:gd name="T49" fmla="*/ 1095 h 2453"/>
                <a:gd name="T50" fmla="*/ 126 w 1087"/>
                <a:gd name="T51" fmla="*/ 1220 h 2453"/>
                <a:gd name="T52" fmla="*/ 132 w 1087"/>
                <a:gd name="T53" fmla="*/ 1266 h 2453"/>
                <a:gd name="T54" fmla="*/ 39 w 1087"/>
                <a:gd name="T55" fmla="*/ 1431 h 2453"/>
                <a:gd name="T56" fmla="*/ 76 w 1087"/>
                <a:gd name="T57" fmla="*/ 1535 h 2453"/>
                <a:gd name="T58" fmla="*/ 34 w 1087"/>
                <a:gd name="T59" fmla="*/ 1554 h 2453"/>
                <a:gd name="T60" fmla="*/ 0 w 1087"/>
                <a:gd name="T61" fmla="*/ 1630 h 2453"/>
                <a:gd name="T62" fmla="*/ 141 w 1087"/>
                <a:gd name="T63" fmla="*/ 1743 h 2453"/>
                <a:gd name="T64" fmla="*/ 170 w 1087"/>
                <a:gd name="T65" fmla="*/ 1773 h 2453"/>
                <a:gd name="T66" fmla="*/ 189 w 1087"/>
                <a:gd name="T67" fmla="*/ 1877 h 2453"/>
                <a:gd name="T68" fmla="*/ 185 w 1087"/>
                <a:gd name="T69" fmla="*/ 1901 h 2453"/>
                <a:gd name="T70" fmla="*/ 139 w 1087"/>
                <a:gd name="T71" fmla="*/ 1996 h 2453"/>
                <a:gd name="T72" fmla="*/ 154 w 1087"/>
                <a:gd name="T73" fmla="*/ 2081 h 2453"/>
                <a:gd name="T74" fmla="*/ 222 w 1087"/>
                <a:gd name="T75" fmla="*/ 2135 h 2453"/>
                <a:gd name="T76" fmla="*/ 244 w 1087"/>
                <a:gd name="T77" fmla="*/ 2150 h 2453"/>
                <a:gd name="T78" fmla="*/ 263 w 1087"/>
                <a:gd name="T79" fmla="*/ 2243 h 2453"/>
                <a:gd name="T80" fmla="*/ 276 w 1087"/>
                <a:gd name="T81" fmla="*/ 2304 h 2453"/>
                <a:gd name="T82" fmla="*/ 239 w 1087"/>
                <a:gd name="T83" fmla="*/ 2362 h 2453"/>
                <a:gd name="T84" fmla="*/ 239 w 1087"/>
                <a:gd name="T85" fmla="*/ 2443 h 2453"/>
                <a:gd name="T86" fmla="*/ 372 w 1087"/>
                <a:gd name="T87" fmla="*/ 2419 h 2453"/>
                <a:gd name="T88" fmla="*/ 401 w 1087"/>
                <a:gd name="T89" fmla="*/ 2362 h 2453"/>
                <a:gd name="T90" fmla="*/ 429 w 1087"/>
                <a:gd name="T91" fmla="*/ 2325 h 2453"/>
                <a:gd name="T92" fmla="*/ 481 w 1087"/>
                <a:gd name="T93" fmla="*/ 2241 h 2453"/>
                <a:gd name="T94" fmla="*/ 510 w 1087"/>
                <a:gd name="T95" fmla="*/ 2202 h 2453"/>
                <a:gd name="T96" fmla="*/ 571 w 1087"/>
                <a:gd name="T97" fmla="*/ 2063 h 2453"/>
                <a:gd name="T98" fmla="*/ 577 w 1087"/>
                <a:gd name="T99" fmla="*/ 1974 h 2453"/>
                <a:gd name="T100" fmla="*/ 612 w 1087"/>
                <a:gd name="T101" fmla="*/ 1909 h 2453"/>
                <a:gd name="T102" fmla="*/ 747 w 1087"/>
                <a:gd name="T103" fmla="*/ 1944 h 2453"/>
                <a:gd name="T104" fmla="*/ 839 w 1087"/>
                <a:gd name="T105" fmla="*/ 1812 h 2453"/>
                <a:gd name="T106" fmla="*/ 906 w 1087"/>
                <a:gd name="T107" fmla="*/ 1801 h 2453"/>
                <a:gd name="T108" fmla="*/ 969 w 1087"/>
                <a:gd name="T109" fmla="*/ 1773 h 2453"/>
                <a:gd name="T110" fmla="*/ 943 w 1087"/>
                <a:gd name="T111" fmla="*/ 1721 h 2453"/>
                <a:gd name="T112" fmla="*/ 930 w 1087"/>
                <a:gd name="T113" fmla="*/ 1658 h 2453"/>
                <a:gd name="T114" fmla="*/ 917 w 1087"/>
                <a:gd name="T115" fmla="*/ 1619 h 2453"/>
                <a:gd name="T116" fmla="*/ 965 w 1087"/>
                <a:gd name="T117" fmla="*/ 1537 h 2453"/>
                <a:gd name="T118" fmla="*/ 969 w 1087"/>
                <a:gd name="T119" fmla="*/ 1420 h 2453"/>
                <a:gd name="T120" fmla="*/ 976 w 1087"/>
                <a:gd name="T121" fmla="*/ 1327 h 2453"/>
                <a:gd name="T122" fmla="*/ 1009 w 1087"/>
                <a:gd name="T123" fmla="*/ 1311 h 2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7" h="2453">
                  <a:moveTo>
                    <a:pt x="1019" y="1290"/>
                  </a:moveTo>
                  <a:lnTo>
                    <a:pt x="1017" y="1292"/>
                  </a:lnTo>
                  <a:lnTo>
                    <a:pt x="1017" y="1290"/>
                  </a:lnTo>
                  <a:lnTo>
                    <a:pt x="993" y="1272"/>
                  </a:lnTo>
                  <a:lnTo>
                    <a:pt x="937" y="1272"/>
                  </a:lnTo>
                  <a:lnTo>
                    <a:pt x="937" y="1270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41" y="1238"/>
                  </a:lnTo>
                  <a:lnTo>
                    <a:pt x="974" y="1199"/>
                  </a:lnTo>
                  <a:lnTo>
                    <a:pt x="982" y="1173"/>
                  </a:lnTo>
                  <a:lnTo>
                    <a:pt x="961" y="1158"/>
                  </a:lnTo>
                  <a:lnTo>
                    <a:pt x="961" y="1158"/>
                  </a:lnTo>
                  <a:lnTo>
                    <a:pt x="961" y="1127"/>
                  </a:lnTo>
                  <a:lnTo>
                    <a:pt x="943" y="1108"/>
                  </a:lnTo>
                  <a:lnTo>
                    <a:pt x="941" y="1106"/>
                  </a:lnTo>
                  <a:lnTo>
                    <a:pt x="941" y="1106"/>
                  </a:lnTo>
                  <a:lnTo>
                    <a:pt x="950" y="1067"/>
                  </a:lnTo>
                  <a:lnTo>
                    <a:pt x="928" y="1049"/>
                  </a:lnTo>
                  <a:lnTo>
                    <a:pt x="926" y="1047"/>
                  </a:lnTo>
                  <a:lnTo>
                    <a:pt x="928" y="1047"/>
                  </a:lnTo>
                  <a:lnTo>
                    <a:pt x="961" y="1010"/>
                  </a:lnTo>
                  <a:lnTo>
                    <a:pt x="950" y="861"/>
                  </a:lnTo>
                  <a:lnTo>
                    <a:pt x="911" y="802"/>
                  </a:lnTo>
                  <a:lnTo>
                    <a:pt x="930" y="793"/>
                  </a:lnTo>
                  <a:lnTo>
                    <a:pt x="976" y="757"/>
                  </a:lnTo>
                  <a:lnTo>
                    <a:pt x="976" y="754"/>
                  </a:lnTo>
                  <a:lnTo>
                    <a:pt x="976" y="757"/>
                  </a:lnTo>
                  <a:lnTo>
                    <a:pt x="1004" y="759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13" y="711"/>
                  </a:lnTo>
                  <a:lnTo>
                    <a:pt x="1026" y="692"/>
                  </a:lnTo>
                  <a:lnTo>
                    <a:pt x="1030" y="666"/>
                  </a:lnTo>
                  <a:lnTo>
                    <a:pt x="1030" y="663"/>
                  </a:lnTo>
                  <a:lnTo>
                    <a:pt x="1030" y="663"/>
                  </a:lnTo>
                  <a:lnTo>
                    <a:pt x="1087" y="620"/>
                  </a:lnTo>
                  <a:lnTo>
                    <a:pt x="1063" y="592"/>
                  </a:lnTo>
                  <a:lnTo>
                    <a:pt x="1063" y="590"/>
                  </a:lnTo>
                  <a:lnTo>
                    <a:pt x="1063" y="544"/>
                  </a:lnTo>
                  <a:lnTo>
                    <a:pt x="1013" y="477"/>
                  </a:lnTo>
                  <a:lnTo>
                    <a:pt x="1013" y="477"/>
                  </a:lnTo>
                  <a:lnTo>
                    <a:pt x="1013" y="475"/>
                  </a:lnTo>
                  <a:lnTo>
                    <a:pt x="1006" y="440"/>
                  </a:lnTo>
                  <a:lnTo>
                    <a:pt x="991" y="421"/>
                  </a:lnTo>
                  <a:lnTo>
                    <a:pt x="991" y="421"/>
                  </a:lnTo>
                  <a:lnTo>
                    <a:pt x="991" y="419"/>
                  </a:lnTo>
                  <a:lnTo>
                    <a:pt x="993" y="399"/>
                  </a:lnTo>
                  <a:lnTo>
                    <a:pt x="963" y="414"/>
                  </a:lnTo>
                  <a:lnTo>
                    <a:pt x="928" y="440"/>
                  </a:lnTo>
                  <a:lnTo>
                    <a:pt x="882" y="453"/>
                  </a:lnTo>
                  <a:lnTo>
                    <a:pt x="865" y="486"/>
                  </a:lnTo>
                  <a:lnTo>
                    <a:pt x="865" y="440"/>
                  </a:lnTo>
                  <a:lnTo>
                    <a:pt x="961" y="343"/>
                  </a:lnTo>
                  <a:lnTo>
                    <a:pt x="1013" y="250"/>
                  </a:lnTo>
                  <a:lnTo>
                    <a:pt x="1037" y="165"/>
                  </a:lnTo>
                  <a:lnTo>
                    <a:pt x="963" y="83"/>
                  </a:lnTo>
                  <a:lnTo>
                    <a:pt x="895" y="81"/>
                  </a:lnTo>
                  <a:lnTo>
                    <a:pt x="871" y="115"/>
                  </a:lnTo>
                  <a:lnTo>
                    <a:pt x="843" y="120"/>
                  </a:lnTo>
                  <a:lnTo>
                    <a:pt x="865" y="61"/>
                  </a:lnTo>
                  <a:lnTo>
                    <a:pt x="808" y="55"/>
                  </a:lnTo>
                  <a:lnTo>
                    <a:pt x="826" y="29"/>
                  </a:lnTo>
                  <a:lnTo>
                    <a:pt x="793" y="0"/>
                  </a:lnTo>
                  <a:lnTo>
                    <a:pt x="762" y="11"/>
                  </a:lnTo>
                  <a:lnTo>
                    <a:pt x="712" y="85"/>
                  </a:lnTo>
                  <a:lnTo>
                    <a:pt x="723" y="128"/>
                  </a:lnTo>
                  <a:lnTo>
                    <a:pt x="671" y="130"/>
                  </a:lnTo>
                  <a:lnTo>
                    <a:pt x="673" y="143"/>
                  </a:lnTo>
                  <a:lnTo>
                    <a:pt x="693" y="172"/>
                  </a:lnTo>
                  <a:lnTo>
                    <a:pt x="656" y="165"/>
                  </a:lnTo>
                  <a:lnTo>
                    <a:pt x="636" y="182"/>
                  </a:lnTo>
                  <a:lnTo>
                    <a:pt x="592" y="174"/>
                  </a:lnTo>
                  <a:lnTo>
                    <a:pt x="586" y="156"/>
                  </a:lnTo>
                  <a:lnTo>
                    <a:pt x="525" y="156"/>
                  </a:lnTo>
                  <a:lnTo>
                    <a:pt x="527" y="191"/>
                  </a:lnTo>
                  <a:lnTo>
                    <a:pt x="453" y="202"/>
                  </a:lnTo>
                  <a:lnTo>
                    <a:pt x="403" y="241"/>
                  </a:lnTo>
                  <a:lnTo>
                    <a:pt x="363" y="243"/>
                  </a:lnTo>
                  <a:lnTo>
                    <a:pt x="335" y="267"/>
                  </a:lnTo>
                  <a:lnTo>
                    <a:pt x="322" y="319"/>
                  </a:lnTo>
                  <a:lnTo>
                    <a:pt x="346" y="362"/>
                  </a:lnTo>
                  <a:lnTo>
                    <a:pt x="309" y="371"/>
                  </a:lnTo>
                  <a:lnTo>
                    <a:pt x="213" y="356"/>
                  </a:lnTo>
                  <a:lnTo>
                    <a:pt x="156" y="354"/>
                  </a:lnTo>
                  <a:lnTo>
                    <a:pt x="141" y="384"/>
                  </a:lnTo>
                  <a:lnTo>
                    <a:pt x="139" y="464"/>
                  </a:lnTo>
                  <a:lnTo>
                    <a:pt x="174" y="497"/>
                  </a:lnTo>
                  <a:lnTo>
                    <a:pt x="191" y="538"/>
                  </a:lnTo>
                  <a:lnTo>
                    <a:pt x="141" y="538"/>
                  </a:lnTo>
                  <a:lnTo>
                    <a:pt x="100" y="460"/>
                  </a:lnTo>
                  <a:lnTo>
                    <a:pt x="69" y="460"/>
                  </a:lnTo>
                  <a:lnTo>
                    <a:pt x="69" y="464"/>
                  </a:lnTo>
                  <a:lnTo>
                    <a:pt x="95" y="520"/>
                  </a:lnTo>
                  <a:lnTo>
                    <a:pt x="98" y="525"/>
                  </a:lnTo>
                  <a:lnTo>
                    <a:pt x="93" y="525"/>
                  </a:lnTo>
                  <a:lnTo>
                    <a:pt x="65" y="529"/>
                  </a:lnTo>
                  <a:lnTo>
                    <a:pt x="58" y="564"/>
                  </a:lnTo>
                  <a:lnTo>
                    <a:pt x="85" y="620"/>
                  </a:lnTo>
                  <a:lnTo>
                    <a:pt x="87" y="622"/>
                  </a:lnTo>
                  <a:lnTo>
                    <a:pt x="87" y="622"/>
                  </a:lnTo>
                  <a:lnTo>
                    <a:pt x="78" y="648"/>
                  </a:lnTo>
                  <a:lnTo>
                    <a:pt x="78" y="650"/>
                  </a:lnTo>
                  <a:lnTo>
                    <a:pt x="78" y="650"/>
                  </a:lnTo>
                  <a:lnTo>
                    <a:pt x="15" y="679"/>
                  </a:lnTo>
                  <a:lnTo>
                    <a:pt x="6" y="711"/>
                  </a:lnTo>
                  <a:lnTo>
                    <a:pt x="47" y="765"/>
                  </a:lnTo>
                  <a:lnTo>
                    <a:pt x="95" y="776"/>
                  </a:lnTo>
                  <a:lnTo>
                    <a:pt x="95" y="776"/>
                  </a:lnTo>
                  <a:lnTo>
                    <a:pt x="95" y="778"/>
                  </a:lnTo>
                  <a:lnTo>
                    <a:pt x="106" y="835"/>
                  </a:lnTo>
                  <a:lnTo>
                    <a:pt x="104" y="843"/>
                  </a:lnTo>
                  <a:lnTo>
                    <a:pt x="104" y="843"/>
                  </a:lnTo>
                  <a:lnTo>
                    <a:pt x="87" y="884"/>
                  </a:lnTo>
                  <a:lnTo>
                    <a:pt x="87" y="884"/>
                  </a:lnTo>
                  <a:lnTo>
                    <a:pt x="85" y="887"/>
                  </a:lnTo>
                  <a:lnTo>
                    <a:pt x="43" y="897"/>
                  </a:lnTo>
                  <a:lnTo>
                    <a:pt x="56" y="928"/>
                  </a:lnTo>
                  <a:lnTo>
                    <a:pt x="56" y="928"/>
                  </a:lnTo>
                  <a:lnTo>
                    <a:pt x="56" y="930"/>
                  </a:lnTo>
                  <a:lnTo>
                    <a:pt x="41" y="969"/>
                  </a:lnTo>
                  <a:lnTo>
                    <a:pt x="76" y="1012"/>
                  </a:lnTo>
                  <a:lnTo>
                    <a:pt x="76" y="1014"/>
                  </a:lnTo>
                  <a:lnTo>
                    <a:pt x="76" y="1014"/>
                  </a:lnTo>
                  <a:lnTo>
                    <a:pt x="67" y="1095"/>
                  </a:lnTo>
                  <a:lnTo>
                    <a:pt x="95" y="1132"/>
                  </a:lnTo>
                  <a:lnTo>
                    <a:pt x="95" y="1134"/>
                  </a:lnTo>
                  <a:lnTo>
                    <a:pt x="95" y="1134"/>
                  </a:lnTo>
                  <a:lnTo>
                    <a:pt x="85" y="1192"/>
                  </a:lnTo>
                  <a:lnTo>
                    <a:pt x="126" y="1220"/>
                  </a:lnTo>
                  <a:lnTo>
                    <a:pt x="126" y="1223"/>
                  </a:lnTo>
                  <a:lnTo>
                    <a:pt x="126" y="1223"/>
                  </a:lnTo>
                  <a:lnTo>
                    <a:pt x="132" y="1264"/>
                  </a:lnTo>
                  <a:lnTo>
                    <a:pt x="135" y="1266"/>
                  </a:lnTo>
                  <a:lnTo>
                    <a:pt x="132" y="1266"/>
                  </a:lnTo>
                  <a:lnTo>
                    <a:pt x="98" y="1316"/>
                  </a:lnTo>
                  <a:lnTo>
                    <a:pt x="93" y="1359"/>
                  </a:lnTo>
                  <a:lnTo>
                    <a:pt x="93" y="1359"/>
                  </a:lnTo>
                  <a:lnTo>
                    <a:pt x="93" y="1361"/>
                  </a:lnTo>
                  <a:lnTo>
                    <a:pt x="39" y="1431"/>
                  </a:lnTo>
                  <a:lnTo>
                    <a:pt x="39" y="1485"/>
                  </a:lnTo>
                  <a:lnTo>
                    <a:pt x="82" y="1511"/>
                  </a:lnTo>
                  <a:lnTo>
                    <a:pt x="85" y="1513"/>
                  </a:lnTo>
                  <a:lnTo>
                    <a:pt x="85" y="1513"/>
                  </a:lnTo>
                  <a:lnTo>
                    <a:pt x="76" y="1535"/>
                  </a:lnTo>
                  <a:lnTo>
                    <a:pt x="76" y="1535"/>
                  </a:lnTo>
                  <a:lnTo>
                    <a:pt x="76" y="1537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34" y="1554"/>
                  </a:lnTo>
                  <a:lnTo>
                    <a:pt x="0" y="1558"/>
                  </a:lnTo>
                  <a:lnTo>
                    <a:pt x="15" y="1610"/>
                  </a:lnTo>
                  <a:lnTo>
                    <a:pt x="15" y="1610"/>
                  </a:lnTo>
                  <a:lnTo>
                    <a:pt x="13" y="1613"/>
                  </a:lnTo>
                  <a:lnTo>
                    <a:pt x="0" y="1630"/>
                  </a:lnTo>
                  <a:lnTo>
                    <a:pt x="0" y="1658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09" y="1675"/>
                  </a:lnTo>
                  <a:lnTo>
                    <a:pt x="141" y="1743"/>
                  </a:lnTo>
                  <a:lnTo>
                    <a:pt x="170" y="1745"/>
                  </a:lnTo>
                  <a:lnTo>
                    <a:pt x="172" y="1745"/>
                  </a:lnTo>
                  <a:lnTo>
                    <a:pt x="172" y="1747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70" y="1773"/>
                  </a:lnTo>
                  <a:lnTo>
                    <a:pt x="126" y="1812"/>
                  </a:lnTo>
                  <a:lnTo>
                    <a:pt x="130" y="1842"/>
                  </a:lnTo>
                  <a:lnTo>
                    <a:pt x="154" y="1866"/>
                  </a:lnTo>
                  <a:lnTo>
                    <a:pt x="189" y="1877"/>
                  </a:lnTo>
                  <a:lnTo>
                    <a:pt x="191" y="1877"/>
                  </a:lnTo>
                  <a:lnTo>
                    <a:pt x="191" y="1879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85" y="1901"/>
                  </a:lnTo>
                  <a:lnTo>
                    <a:pt x="146" y="1931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43" y="1970"/>
                  </a:lnTo>
                  <a:lnTo>
                    <a:pt x="139" y="1996"/>
                  </a:lnTo>
                  <a:lnTo>
                    <a:pt x="172" y="2061"/>
                  </a:lnTo>
                  <a:lnTo>
                    <a:pt x="172" y="2063"/>
                  </a:lnTo>
                  <a:lnTo>
                    <a:pt x="172" y="2063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54" y="2081"/>
                  </a:lnTo>
                  <a:lnTo>
                    <a:pt x="139" y="2087"/>
                  </a:lnTo>
                  <a:lnTo>
                    <a:pt x="156" y="2139"/>
                  </a:lnTo>
                  <a:lnTo>
                    <a:pt x="189" y="2139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22" y="2135"/>
                  </a:lnTo>
                  <a:lnTo>
                    <a:pt x="244" y="2148"/>
                  </a:lnTo>
                  <a:lnTo>
                    <a:pt x="246" y="2150"/>
                  </a:lnTo>
                  <a:lnTo>
                    <a:pt x="244" y="2150"/>
                  </a:lnTo>
                  <a:lnTo>
                    <a:pt x="233" y="2174"/>
                  </a:lnTo>
                  <a:lnTo>
                    <a:pt x="257" y="2211"/>
                  </a:lnTo>
                  <a:lnTo>
                    <a:pt x="259" y="2211"/>
                  </a:lnTo>
                  <a:lnTo>
                    <a:pt x="259" y="2213"/>
                  </a:lnTo>
                  <a:lnTo>
                    <a:pt x="263" y="2243"/>
                  </a:lnTo>
                  <a:lnTo>
                    <a:pt x="274" y="2278"/>
                  </a:lnTo>
                  <a:lnTo>
                    <a:pt x="274" y="2278"/>
                  </a:lnTo>
                  <a:lnTo>
                    <a:pt x="276" y="2278"/>
                  </a:lnTo>
                  <a:lnTo>
                    <a:pt x="276" y="2304"/>
                  </a:lnTo>
                  <a:lnTo>
                    <a:pt x="276" y="2304"/>
                  </a:lnTo>
                  <a:lnTo>
                    <a:pt x="276" y="2306"/>
                  </a:lnTo>
                  <a:lnTo>
                    <a:pt x="248" y="2319"/>
                  </a:lnTo>
                  <a:lnTo>
                    <a:pt x="248" y="2341"/>
                  </a:lnTo>
                  <a:lnTo>
                    <a:pt x="248" y="2343"/>
                  </a:lnTo>
                  <a:lnTo>
                    <a:pt x="239" y="2362"/>
                  </a:lnTo>
                  <a:lnTo>
                    <a:pt x="239" y="2365"/>
                  </a:lnTo>
                  <a:lnTo>
                    <a:pt x="237" y="2365"/>
                  </a:lnTo>
                  <a:lnTo>
                    <a:pt x="209" y="2375"/>
                  </a:lnTo>
                  <a:lnTo>
                    <a:pt x="191" y="2408"/>
                  </a:lnTo>
                  <a:lnTo>
                    <a:pt x="239" y="2443"/>
                  </a:lnTo>
                  <a:lnTo>
                    <a:pt x="318" y="2453"/>
                  </a:lnTo>
                  <a:lnTo>
                    <a:pt x="353" y="2425"/>
                  </a:lnTo>
                  <a:lnTo>
                    <a:pt x="353" y="2423"/>
                  </a:lnTo>
                  <a:lnTo>
                    <a:pt x="353" y="2423"/>
                  </a:lnTo>
                  <a:lnTo>
                    <a:pt x="372" y="2419"/>
                  </a:lnTo>
                  <a:lnTo>
                    <a:pt x="372" y="2401"/>
                  </a:lnTo>
                  <a:lnTo>
                    <a:pt x="372" y="2401"/>
                  </a:lnTo>
                  <a:lnTo>
                    <a:pt x="374" y="2399"/>
                  </a:lnTo>
                  <a:lnTo>
                    <a:pt x="403" y="2382"/>
                  </a:lnTo>
                  <a:lnTo>
                    <a:pt x="401" y="2362"/>
                  </a:lnTo>
                  <a:lnTo>
                    <a:pt x="398" y="2360"/>
                  </a:lnTo>
                  <a:lnTo>
                    <a:pt x="401" y="2360"/>
                  </a:lnTo>
                  <a:lnTo>
                    <a:pt x="422" y="2356"/>
                  </a:lnTo>
                  <a:lnTo>
                    <a:pt x="429" y="2328"/>
                  </a:lnTo>
                  <a:lnTo>
                    <a:pt x="429" y="2325"/>
                  </a:lnTo>
                  <a:lnTo>
                    <a:pt x="431" y="2325"/>
                  </a:lnTo>
                  <a:lnTo>
                    <a:pt x="536" y="2317"/>
                  </a:lnTo>
                  <a:lnTo>
                    <a:pt x="540" y="2293"/>
                  </a:lnTo>
                  <a:lnTo>
                    <a:pt x="481" y="2241"/>
                  </a:lnTo>
                  <a:lnTo>
                    <a:pt x="481" y="2241"/>
                  </a:lnTo>
                  <a:lnTo>
                    <a:pt x="481" y="2215"/>
                  </a:lnTo>
                  <a:lnTo>
                    <a:pt x="481" y="2215"/>
                  </a:lnTo>
                  <a:lnTo>
                    <a:pt x="507" y="2202"/>
                  </a:lnTo>
                  <a:lnTo>
                    <a:pt x="510" y="2202"/>
                  </a:lnTo>
                  <a:lnTo>
                    <a:pt x="510" y="2202"/>
                  </a:lnTo>
                  <a:lnTo>
                    <a:pt x="542" y="2206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49" y="2104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571" y="2063"/>
                  </a:lnTo>
                  <a:lnTo>
                    <a:pt x="605" y="2059"/>
                  </a:lnTo>
                  <a:lnTo>
                    <a:pt x="612" y="2029"/>
                  </a:lnTo>
                  <a:lnTo>
                    <a:pt x="577" y="1974"/>
                  </a:lnTo>
                  <a:lnTo>
                    <a:pt x="575" y="1972"/>
                  </a:lnTo>
                  <a:lnTo>
                    <a:pt x="577" y="1972"/>
                  </a:lnTo>
                  <a:lnTo>
                    <a:pt x="610" y="1912"/>
                  </a:lnTo>
                  <a:lnTo>
                    <a:pt x="610" y="1909"/>
                  </a:lnTo>
                  <a:lnTo>
                    <a:pt x="612" y="1909"/>
                  </a:lnTo>
                  <a:lnTo>
                    <a:pt x="693" y="1907"/>
                  </a:lnTo>
                  <a:lnTo>
                    <a:pt x="714" y="1877"/>
                  </a:lnTo>
                  <a:lnTo>
                    <a:pt x="717" y="1875"/>
                  </a:lnTo>
                  <a:lnTo>
                    <a:pt x="717" y="1879"/>
                  </a:lnTo>
                  <a:lnTo>
                    <a:pt x="747" y="1944"/>
                  </a:lnTo>
                  <a:lnTo>
                    <a:pt x="764" y="1935"/>
                  </a:lnTo>
                  <a:lnTo>
                    <a:pt x="762" y="1899"/>
                  </a:lnTo>
                  <a:lnTo>
                    <a:pt x="762" y="1896"/>
                  </a:lnTo>
                  <a:lnTo>
                    <a:pt x="762" y="1896"/>
                  </a:lnTo>
                  <a:lnTo>
                    <a:pt x="839" y="1812"/>
                  </a:lnTo>
                  <a:lnTo>
                    <a:pt x="845" y="1779"/>
                  </a:lnTo>
                  <a:lnTo>
                    <a:pt x="845" y="1777"/>
                  </a:lnTo>
                  <a:lnTo>
                    <a:pt x="887" y="1760"/>
                  </a:lnTo>
                  <a:lnTo>
                    <a:pt x="887" y="1762"/>
                  </a:lnTo>
                  <a:lnTo>
                    <a:pt x="906" y="1801"/>
                  </a:lnTo>
                  <a:lnTo>
                    <a:pt x="941" y="1823"/>
                  </a:lnTo>
                  <a:lnTo>
                    <a:pt x="950" y="1795"/>
                  </a:lnTo>
                  <a:lnTo>
                    <a:pt x="950" y="1795"/>
                  </a:lnTo>
                  <a:lnTo>
                    <a:pt x="950" y="1792"/>
                  </a:lnTo>
                  <a:lnTo>
                    <a:pt x="969" y="1773"/>
                  </a:lnTo>
                  <a:lnTo>
                    <a:pt x="961" y="1749"/>
                  </a:lnTo>
                  <a:lnTo>
                    <a:pt x="943" y="1745"/>
                  </a:lnTo>
                  <a:lnTo>
                    <a:pt x="941" y="1745"/>
                  </a:lnTo>
                  <a:lnTo>
                    <a:pt x="941" y="1743"/>
                  </a:lnTo>
                  <a:lnTo>
                    <a:pt x="943" y="1721"/>
                  </a:lnTo>
                  <a:lnTo>
                    <a:pt x="943" y="1721"/>
                  </a:lnTo>
                  <a:lnTo>
                    <a:pt x="943" y="1719"/>
                  </a:lnTo>
                  <a:lnTo>
                    <a:pt x="972" y="1691"/>
                  </a:lnTo>
                  <a:lnTo>
                    <a:pt x="967" y="1669"/>
                  </a:lnTo>
                  <a:lnTo>
                    <a:pt x="930" y="1658"/>
                  </a:lnTo>
                  <a:lnTo>
                    <a:pt x="928" y="1658"/>
                  </a:lnTo>
                  <a:lnTo>
                    <a:pt x="928" y="1656"/>
                  </a:lnTo>
                  <a:lnTo>
                    <a:pt x="917" y="1621"/>
                  </a:lnTo>
                  <a:lnTo>
                    <a:pt x="917" y="1621"/>
                  </a:lnTo>
                  <a:lnTo>
                    <a:pt x="917" y="1619"/>
                  </a:lnTo>
                  <a:lnTo>
                    <a:pt x="937" y="1595"/>
                  </a:lnTo>
                  <a:lnTo>
                    <a:pt x="919" y="1567"/>
                  </a:lnTo>
                  <a:lnTo>
                    <a:pt x="919" y="1565"/>
                  </a:lnTo>
                  <a:lnTo>
                    <a:pt x="919" y="1565"/>
                  </a:lnTo>
                  <a:lnTo>
                    <a:pt x="965" y="1537"/>
                  </a:lnTo>
                  <a:lnTo>
                    <a:pt x="991" y="1487"/>
                  </a:lnTo>
                  <a:lnTo>
                    <a:pt x="987" y="1450"/>
                  </a:lnTo>
                  <a:lnTo>
                    <a:pt x="969" y="1422"/>
                  </a:lnTo>
                  <a:lnTo>
                    <a:pt x="969" y="1422"/>
                  </a:lnTo>
                  <a:lnTo>
                    <a:pt x="969" y="1420"/>
                  </a:lnTo>
                  <a:lnTo>
                    <a:pt x="987" y="1383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8" y="1361"/>
                  </a:lnTo>
                  <a:lnTo>
                    <a:pt x="976" y="1327"/>
                  </a:lnTo>
                  <a:lnTo>
                    <a:pt x="976" y="1324"/>
                  </a:lnTo>
                  <a:lnTo>
                    <a:pt x="978" y="1324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09" y="1311"/>
                  </a:lnTo>
                  <a:lnTo>
                    <a:pt x="1041" y="1305"/>
                  </a:lnTo>
                  <a:lnTo>
                    <a:pt x="1054" y="1288"/>
                  </a:lnTo>
                  <a:lnTo>
                    <a:pt x="1043" y="1275"/>
                  </a:lnTo>
                  <a:lnTo>
                    <a:pt x="1019" y="1290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3" name="Freeform 308">
              <a:extLst>
                <a:ext uri="{FF2B5EF4-FFF2-40B4-BE49-F238E27FC236}">
                  <a16:creationId xmlns:a16="http://schemas.microsoft.com/office/drawing/2014/main" xmlns="" id="{24D18982-FB11-4213-B515-CB81FCA5A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8" y="1115"/>
              <a:ext cx="771" cy="1313"/>
            </a:xfrm>
            <a:custGeom>
              <a:avLst/>
              <a:gdLst>
                <a:gd name="T0" fmla="*/ 760 w 771"/>
                <a:gd name="T1" fmla="*/ 1200 h 1313"/>
                <a:gd name="T2" fmla="*/ 710 w 771"/>
                <a:gd name="T3" fmla="*/ 1111 h 1313"/>
                <a:gd name="T4" fmla="*/ 734 w 771"/>
                <a:gd name="T5" fmla="*/ 1040 h 1313"/>
                <a:gd name="T6" fmla="*/ 671 w 771"/>
                <a:gd name="T7" fmla="*/ 912 h 1313"/>
                <a:gd name="T8" fmla="*/ 690 w 771"/>
                <a:gd name="T9" fmla="*/ 853 h 1313"/>
                <a:gd name="T10" fmla="*/ 579 w 771"/>
                <a:gd name="T11" fmla="*/ 741 h 1313"/>
                <a:gd name="T12" fmla="*/ 610 w 771"/>
                <a:gd name="T13" fmla="*/ 754 h 1313"/>
                <a:gd name="T14" fmla="*/ 597 w 771"/>
                <a:gd name="T15" fmla="*/ 697 h 1313"/>
                <a:gd name="T16" fmla="*/ 538 w 771"/>
                <a:gd name="T17" fmla="*/ 686 h 1313"/>
                <a:gd name="T18" fmla="*/ 518 w 771"/>
                <a:gd name="T19" fmla="*/ 643 h 1313"/>
                <a:gd name="T20" fmla="*/ 475 w 771"/>
                <a:gd name="T21" fmla="*/ 669 h 1313"/>
                <a:gd name="T22" fmla="*/ 374 w 771"/>
                <a:gd name="T23" fmla="*/ 513 h 1313"/>
                <a:gd name="T24" fmla="*/ 409 w 771"/>
                <a:gd name="T25" fmla="*/ 459 h 1313"/>
                <a:gd name="T26" fmla="*/ 435 w 771"/>
                <a:gd name="T27" fmla="*/ 407 h 1313"/>
                <a:gd name="T28" fmla="*/ 475 w 771"/>
                <a:gd name="T29" fmla="*/ 257 h 1313"/>
                <a:gd name="T30" fmla="*/ 501 w 771"/>
                <a:gd name="T31" fmla="*/ 177 h 1313"/>
                <a:gd name="T32" fmla="*/ 446 w 771"/>
                <a:gd name="T33" fmla="*/ 15 h 1313"/>
                <a:gd name="T34" fmla="*/ 446 w 771"/>
                <a:gd name="T35" fmla="*/ 15 h 1313"/>
                <a:gd name="T36" fmla="*/ 370 w 771"/>
                <a:gd name="T37" fmla="*/ 138 h 1313"/>
                <a:gd name="T38" fmla="*/ 368 w 771"/>
                <a:gd name="T39" fmla="*/ 138 h 1313"/>
                <a:gd name="T40" fmla="*/ 248 w 771"/>
                <a:gd name="T41" fmla="*/ 156 h 1313"/>
                <a:gd name="T42" fmla="*/ 246 w 771"/>
                <a:gd name="T43" fmla="*/ 153 h 1313"/>
                <a:gd name="T44" fmla="*/ 152 w 771"/>
                <a:gd name="T45" fmla="*/ 108 h 1313"/>
                <a:gd name="T46" fmla="*/ 137 w 771"/>
                <a:gd name="T47" fmla="*/ 132 h 1313"/>
                <a:gd name="T48" fmla="*/ 82 w 771"/>
                <a:gd name="T49" fmla="*/ 145 h 1313"/>
                <a:gd name="T50" fmla="*/ 74 w 771"/>
                <a:gd name="T51" fmla="*/ 173 h 1313"/>
                <a:gd name="T52" fmla="*/ 43 w 771"/>
                <a:gd name="T53" fmla="*/ 177 h 1313"/>
                <a:gd name="T54" fmla="*/ 34 w 771"/>
                <a:gd name="T55" fmla="*/ 210 h 1313"/>
                <a:gd name="T56" fmla="*/ 0 w 771"/>
                <a:gd name="T57" fmla="*/ 221 h 1313"/>
                <a:gd name="T58" fmla="*/ 54 w 771"/>
                <a:gd name="T59" fmla="*/ 322 h 1313"/>
                <a:gd name="T60" fmla="*/ 84 w 771"/>
                <a:gd name="T61" fmla="*/ 329 h 1313"/>
                <a:gd name="T62" fmla="*/ 104 w 771"/>
                <a:gd name="T63" fmla="*/ 381 h 1313"/>
                <a:gd name="T64" fmla="*/ 139 w 771"/>
                <a:gd name="T65" fmla="*/ 379 h 1313"/>
                <a:gd name="T66" fmla="*/ 163 w 771"/>
                <a:gd name="T67" fmla="*/ 400 h 1313"/>
                <a:gd name="T68" fmla="*/ 163 w 771"/>
                <a:gd name="T69" fmla="*/ 400 h 1313"/>
                <a:gd name="T70" fmla="*/ 200 w 771"/>
                <a:gd name="T71" fmla="*/ 450 h 1313"/>
                <a:gd name="T72" fmla="*/ 163 w 771"/>
                <a:gd name="T73" fmla="*/ 361 h 1313"/>
                <a:gd name="T74" fmla="*/ 233 w 771"/>
                <a:gd name="T75" fmla="*/ 296 h 1313"/>
                <a:gd name="T76" fmla="*/ 211 w 771"/>
                <a:gd name="T77" fmla="*/ 374 h 1313"/>
                <a:gd name="T78" fmla="*/ 274 w 771"/>
                <a:gd name="T79" fmla="*/ 407 h 1313"/>
                <a:gd name="T80" fmla="*/ 294 w 771"/>
                <a:gd name="T81" fmla="*/ 444 h 1313"/>
                <a:gd name="T82" fmla="*/ 296 w 771"/>
                <a:gd name="T83" fmla="*/ 567 h 1313"/>
                <a:gd name="T84" fmla="*/ 318 w 771"/>
                <a:gd name="T85" fmla="*/ 741 h 1313"/>
                <a:gd name="T86" fmla="*/ 316 w 771"/>
                <a:gd name="T87" fmla="*/ 836 h 1313"/>
                <a:gd name="T88" fmla="*/ 309 w 771"/>
                <a:gd name="T89" fmla="*/ 879 h 1313"/>
                <a:gd name="T90" fmla="*/ 350 w 771"/>
                <a:gd name="T91" fmla="*/ 985 h 1313"/>
                <a:gd name="T92" fmla="*/ 398 w 771"/>
                <a:gd name="T93" fmla="*/ 1040 h 1313"/>
                <a:gd name="T94" fmla="*/ 771 w 771"/>
                <a:gd name="T95" fmla="*/ 1313 h 1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1" h="1313">
                  <a:moveTo>
                    <a:pt x="771" y="1313"/>
                  </a:moveTo>
                  <a:lnTo>
                    <a:pt x="760" y="1200"/>
                  </a:lnTo>
                  <a:lnTo>
                    <a:pt x="749" y="1148"/>
                  </a:lnTo>
                  <a:lnTo>
                    <a:pt x="710" y="1111"/>
                  </a:lnTo>
                  <a:lnTo>
                    <a:pt x="714" y="1055"/>
                  </a:lnTo>
                  <a:lnTo>
                    <a:pt x="734" y="1040"/>
                  </a:lnTo>
                  <a:lnTo>
                    <a:pt x="669" y="964"/>
                  </a:lnTo>
                  <a:lnTo>
                    <a:pt x="671" y="912"/>
                  </a:lnTo>
                  <a:lnTo>
                    <a:pt x="697" y="884"/>
                  </a:lnTo>
                  <a:lnTo>
                    <a:pt x="690" y="853"/>
                  </a:lnTo>
                  <a:lnTo>
                    <a:pt x="636" y="838"/>
                  </a:lnTo>
                  <a:lnTo>
                    <a:pt x="579" y="741"/>
                  </a:lnTo>
                  <a:lnTo>
                    <a:pt x="594" y="730"/>
                  </a:lnTo>
                  <a:lnTo>
                    <a:pt x="610" y="754"/>
                  </a:lnTo>
                  <a:lnTo>
                    <a:pt x="638" y="738"/>
                  </a:lnTo>
                  <a:lnTo>
                    <a:pt x="597" y="697"/>
                  </a:lnTo>
                  <a:lnTo>
                    <a:pt x="573" y="710"/>
                  </a:lnTo>
                  <a:lnTo>
                    <a:pt x="538" y="686"/>
                  </a:lnTo>
                  <a:lnTo>
                    <a:pt x="536" y="686"/>
                  </a:lnTo>
                  <a:lnTo>
                    <a:pt x="518" y="643"/>
                  </a:lnTo>
                  <a:lnTo>
                    <a:pt x="479" y="643"/>
                  </a:lnTo>
                  <a:lnTo>
                    <a:pt x="475" y="669"/>
                  </a:lnTo>
                  <a:lnTo>
                    <a:pt x="451" y="667"/>
                  </a:lnTo>
                  <a:lnTo>
                    <a:pt x="374" y="513"/>
                  </a:lnTo>
                  <a:lnTo>
                    <a:pt x="379" y="465"/>
                  </a:lnTo>
                  <a:lnTo>
                    <a:pt x="409" y="459"/>
                  </a:lnTo>
                  <a:lnTo>
                    <a:pt x="387" y="368"/>
                  </a:lnTo>
                  <a:lnTo>
                    <a:pt x="435" y="407"/>
                  </a:lnTo>
                  <a:lnTo>
                    <a:pt x="438" y="296"/>
                  </a:lnTo>
                  <a:lnTo>
                    <a:pt x="475" y="257"/>
                  </a:lnTo>
                  <a:lnTo>
                    <a:pt x="533" y="257"/>
                  </a:lnTo>
                  <a:lnTo>
                    <a:pt x="501" y="177"/>
                  </a:lnTo>
                  <a:lnTo>
                    <a:pt x="485" y="4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18" y="0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8" y="138"/>
                  </a:lnTo>
                  <a:lnTo>
                    <a:pt x="305" y="138"/>
                  </a:lnTo>
                  <a:lnTo>
                    <a:pt x="248" y="156"/>
                  </a:lnTo>
                  <a:lnTo>
                    <a:pt x="248" y="156"/>
                  </a:lnTo>
                  <a:lnTo>
                    <a:pt x="246" y="153"/>
                  </a:lnTo>
                  <a:lnTo>
                    <a:pt x="228" y="104"/>
                  </a:lnTo>
                  <a:lnTo>
                    <a:pt x="152" y="108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137" y="132"/>
                  </a:lnTo>
                  <a:lnTo>
                    <a:pt x="82" y="145"/>
                  </a:lnTo>
                  <a:lnTo>
                    <a:pt x="74" y="173"/>
                  </a:lnTo>
                  <a:lnTo>
                    <a:pt x="74" y="173"/>
                  </a:lnTo>
                  <a:lnTo>
                    <a:pt x="71" y="173"/>
                  </a:lnTo>
                  <a:lnTo>
                    <a:pt x="43" y="177"/>
                  </a:lnTo>
                  <a:lnTo>
                    <a:pt x="34" y="208"/>
                  </a:lnTo>
                  <a:lnTo>
                    <a:pt x="34" y="210"/>
                  </a:lnTo>
                  <a:lnTo>
                    <a:pt x="32" y="210"/>
                  </a:lnTo>
                  <a:lnTo>
                    <a:pt x="0" y="221"/>
                  </a:lnTo>
                  <a:lnTo>
                    <a:pt x="6" y="253"/>
                  </a:lnTo>
                  <a:lnTo>
                    <a:pt x="54" y="322"/>
                  </a:lnTo>
                  <a:lnTo>
                    <a:pt x="82" y="327"/>
                  </a:lnTo>
                  <a:lnTo>
                    <a:pt x="84" y="329"/>
                  </a:lnTo>
                  <a:lnTo>
                    <a:pt x="84" y="329"/>
                  </a:lnTo>
                  <a:lnTo>
                    <a:pt x="104" y="381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39" y="379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3" y="400"/>
                  </a:lnTo>
                  <a:lnTo>
                    <a:pt x="169" y="433"/>
                  </a:lnTo>
                  <a:lnTo>
                    <a:pt x="200" y="450"/>
                  </a:lnTo>
                  <a:lnTo>
                    <a:pt x="222" y="431"/>
                  </a:lnTo>
                  <a:lnTo>
                    <a:pt x="163" y="361"/>
                  </a:lnTo>
                  <a:lnTo>
                    <a:pt x="178" y="316"/>
                  </a:lnTo>
                  <a:lnTo>
                    <a:pt x="233" y="296"/>
                  </a:lnTo>
                  <a:lnTo>
                    <a:pt x="204" y="342"/>
                  </a:lnTo>
                  <a:lnTo>
                    <a:pt x="211" y="374"/>
                  </a:lnTo>
                  <a:lnTo>
                    <a:pt x="254" y="407"/>
                  </a:lnTo>
                  <a:lnTo>
                    <a:pt x="274" y="407"/>
                  </a:lnTo>
                  <a:lnTo>
                    <a:pt x="274" y="439"/>
                  </a:lnTo>
                  <a:lnTo>
                    <a:pt x="294" y="444"/>
                  </a:lnTo>
                  <a:lnTo>
                    <a:pt x="274" y="535"/>
                  </a:lnTo>
                  <a:lnTo>
                    <a:pt x="296" y="567"/>
                  </a:lnTo>
                  <a:lnTo>
                    <a:pt x="302" y="673"/>
                  </a:lnTo>
                  <a:lnTo>
                    <a:pt x="318" y="741"/>
                  </a:lnTo>
                  <a:lnTo>
                    <a:pt x="339" y="808"/>
                  </a:lnTo>
                  <a:lnTo>
                    <a:pt x="316" y="836"/>
                  </a:lnTo>
                  <a:lnTo>
                    <a:pt x="322" y="862"/>
                  </a:lnTo>
                  <a:lnTo>
                    <a:pt x="309" y="879"/>
                  </a:lnTo>
                  <a:lnTo>
                    <a:pt x="344" y="920"/>
                  </a:lnTo>
                  <a:lnTo>
                    <a:pt x="350" y="985"/>
                  </a:lnTo>
                  <a:lnTo>
                    <a:pt x="398" y="1040"/>
                  </a:lnTo>
                  <a:lnTo>
                    <a:pt x="398" y="1040"/>
                  </a:lnTo>
                  <a:lnTo>
                    <a:pt x="455" y="1105"/>
                  </a:lnTo>
                  <a:lnTo>
                    <a:pt x="771" y="1313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4" name="Freeform 309">
              <a:extLst>
                <a:ext uri="{FF2B5EF4-FFF2-40B4-BE49-F238E27FC236}">
                  <a16:creationId xmlns:a16="http://schemas.microsoft.com/office/drawing/2014/main" xmlns="" id="{42DD06E9-F496-40A2-BAB4-7757D42FC4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" y="2146"/>
              <a:ext cx="473" cy="496"/>
            </a:xfrm>
            <a:custGeom>
              <a:avLst/>
              <a:gdLst>
                <a:gd name="T0" fmla="*/ 432 w 473"/>
                <a:gd name="T1" fmla="*/ 117 h 496"/>
                <a:gd name="T2" fmla="*/ 366 w 473"/>
                <a:gd name="T3" fmla="*/ 65 h 496"/>
                <a:gd name="T4" fmla="*/ 342 w 473"/>
                <a:gd name="T5" fmla="*/ 78 h 496"/>
                <a:gd name="T6" fmla="*/ 279 w 473"/>
                <a:gd name="T7" fmla="*/ 72 h 496"/>
                <a:gd name="T8" fmla="*/ 236 w 473"/>
                <a:gd name="T9" fmla="*/ 48 h 496"/>
                <a:gd name="T10" fmla="*/ 236 w 473"/>
                <a:gd name="T11" fmla="*/ 48 h 496"/>
                <a:gd name="T12" fmla="*/ 146 w 473"/>
                <a:gd name="T13" fmla="*/ 0 h 496"/>
                <a:gd name="T14" fmla="*/ 166 w 473"/>
                <a:gd name="T15" fmla="*/ 82 h 496"/>
                <a:gd name="T16" fmla="*/ 168 w 473"/>
                <a:gd name="T17" fmla="*/ 85 h 496"/>
                <a:gd name="T18" fmla="*/ 170 w 473"/>
                <a:gd name="T19" fmla="*/ 119 h 496"/>
                <a:gd name="T20" fmla="*/ 109 w 473"/>
                <a:gd name="T21" fmla="*/ 145 h 496"/>
                <a:gd name="T22" fmla="*/ 125 w 473"/>
                <a:gd name="T23" fmla="*/ 178 h 496"/>
                <a:gd name="T24" fmla="*/ 107 w 473"/>
                <a:gd name="T25" fmla="*/ 204 h 496"/>
                <a:gd name="T26" fmla="*/ 92 w 473"/>
                <a:gd name="T27" fmla="*/ 223 h 496"/>
                <a:gd name="T28" fmla="*/ 70 w 473"/>
                <a:gd name="T29" fmla="*/ 280 h 496"/>
                <a:gd name="T30" fmla="*/ 50 w 473"/>
                <a:gd name="T31" fmla="*/ 299 h 496"/>
                <a:gd name="T32" fmla="*/ 40 w 473"/>
                <a:gd name="T33" fmla="*/ 329 h 496"/>
                <a:gd name="T34" fmla="*/ 20 w 473"/>
                <a:gd name="T35" fmla="*/ 351 h 496"/>
                <a:gd name="T36" fmla="*/ 18 w 473"/>
                <a:gd name="T37" fmla="*/ 351 h 496"/>
                <a:gd name="T38" fmla="*/ 0 w 473"/>
                <a:gd name="T39" fmla="*/ 392 h 496"/>
                <a:gd name="T40" fmla="*/ 22 w 473"/>
                <a:gd name="T41" fmla="*/ 392 h 496"/>
                <a:gd name="T42" fmla="*/ 63 w 473"/>
                <a:gd name="T43" fmla="*/ 427 h 496"/>
                <a:gd name="T44" fmla="*/ 66 w 473"/>
                <a:gd name="T45" fmla="*/ 429 h 496"/>
                <a:gd name="T46" fmla="*/ 85 w 473"/>
                <a:gd name="T47" fmla="*/ 457 h 496"/>
                <a:gd name="T48" fmla="*/ 85 w 473"/>
                <a:gd name="T49" fmla="*/ 459 h 496"/>
                <a:gd name="T50" fmla="*/ 90 w 473"/>
                <a:gd name="T51" fmla="*/ 470 h 496"/>
                <a:gd name="T52" fmla="*/ 98 w 473"/>
                <a:gd name="T53" fmla="*/ 496 h 496"/>
                <a:gd name="T54" fmla="*/ 148 w 473"/>
                <a:gd name="T55" fmla="*/ 451 h 496"/>
                <a:gd name="T56" fmla="*/ 151 w 473"/>
                <a:gd name="T57" fmla="*/ 449 h 496"/>
                <a:gd name="T58" fmla="*/ 216 w 473"/>
                <a:gd name="T59" fmla="*/ 405 h 496"/>
                <a:gd name="T60" fmla="*/ 218 w 473"/>
                <a:gd name="T61" fmla="*/ 405 h 496"/>
                <a:gd name="T62" fmla="*/ 253 w 473"/>
                <a:gd name="T63" fmla="*/ 414 h 496"/>
                <a:gd name="T64" fmla="*/ 260 w 473"/>
                <a:gd name="T65" fmla="*/ 386 h 496"/>
                <a:gd name="T66" fmla="*/ 305 w 473"/>
                <a:gd name="T67" fmla="*/ 384 h 496"/>
                <a:gd name="T68" fmla="*/ 321 w 473"/>
                <a:gd name="T69" fmla="*/ 338 h 496"/>
                <a:gd name="T70" fmla="*/ 321 w 473"/>
                <a:gd name="T71" fmla="*/ 336 h 496"/>
                <a:gd name="T72" fmla="*/ 325 w 473"/>
                <a:gd name="T73" fmla="*/ 286 h 496"/>
                <a:gd name="T74" fmla="*/ 325 w 473"/>
                <a:gd name="T75" fmla="*/ 286 h 496"/>
                <a:gd name="T76" fmla="*/ 327 w 473"/>
                <a:gd name="T77" fmla="*/ 262 h 496"/>
                <a:gd name="T78" fmla="*/ 375 w 473"/>
                <a:gd name="T79" fmla="*/ 241 h 496"/>
                <a:gd name="T80" fmla="*/ 467 w 473"/>
                <a:gd name="T81" fmla="*/ 139 h 496"/>
                <a:gd name="T82" fmla="*/ 434 w 473"/>
                <a:gd name="T83" fmla="*/ 119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73" h="496">
                  <a:moveTo>
                    <a:pt x="434" y="119"/>
                  </a:moveTo>
                  <a:lnTo>
                    <a:pt x="432" y="117"/>
                  </a:lnTo>
                  <a:lnTo>
                    <a:pt x="432" y="117"/>
                  </a:lnTo>
                  <a:lnTo>
                    <a:pt x="366" y="65"/>
                  </a:lnTo>
                  <a:lnTo>
                    <a:pt x="345" y="78"/>
                  </a:lnTo>
                  <a:lnTo>
                    <a:pt x="342" y="78"/>
                  </a:lnTo>
                  <a:lnTo>
                    <a:pt x="342" y="78"/>
                  </a:lnTo>
                  <a:lnTo>
                    <a:pt x="279" y="72"/>
                  </a:lnTo>
                  <a:lnTo>
                    <a:pt x="279" y="69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236" y="48"/>
                  </a:lnTo>
                  <a:lnTo>
                    <a:pt x="196" y="4"/>
                  </a:lnTo>
                  <a:lnTo>
                    <a:pt x="146" y="0"/>
                  </a:lnTo>
                  <a:lnTo>
                    <a:pt x="131" y="37"/>
                  </a:lnTo>
                  <a:lnTo>
                    <a:pt x="166" y="82"/>
                  </a:lnTo>
                  <a:lnTo>
                    <a:pt x="168" y="85"/>
                  </a:lnTo>
                  <a:lnTo>
                    <a:pt x="168" y="85"/>
                  </a:lnTo>
                  <a:lnTo>
                    <a:pt x="170" y="117"/>
                  </a:lnTo>
                  <a:lnTo>
                    <a:pt x="170" y="119"/>
                  </a:lnTo>
                  <a:lnTo>
                    <a:pt x="168" y="119"/>
                  </a:lnTo>
                  <a:lnTo>
                    <a:pt x="109" y="145"/>
                  </a:lnTo>
                  <a:lnTo>
                    <a:pt x="109" y="165"/>
                  </a:lnTo>
                  <a:lnTo>
                    <a:pt x="125" y="178"/>
                  </a:lnTo>
                  <a:lnTo>
                    <a:pt x="127" y="180"/>
                  </a:lnTo>
                  <a:lnTo>
                    <a:pt x="107" y="204"/>
                  </a:lnTo>
                  <a:lnTo>
                    <a:pt x="107" y="204"/>
                  </a:lnTo>
                  <a:lnTo>
                    <a:pt x="92" y="223"/>
                  </a:lnTo>
                  <a:lnTo>
                    <a:pt x="70" y="277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50" y="29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40" y="329"/>
                  </a:lnTo>
                  <a:lnTo>
                    <a:pt x="20" y="351"/>
                  </a:lnTo>
                  <a:lnTo>
                    <a:pt x="18" y="353"/>
                  </a:lnTo>
                  <a:lnTo>
                    <a:pt x="18" y="351"/>
                  </a:lnTo>
                  <a:lnTo>
                    <a:pt x="0" y="351"/>
                  </a:lnTo>
                  <a:lnTo>
                    <a:pt x="0" y="392"/>
                  </a:lnTo>
                  <a:lnTo>
                    <a:pt x="20" y="392"/>
                  </a:lnTo>
                  <a:lnTo>
                    <a:pt x="22" y="392"/>
                  </a:lnTo>
                  <a:lnTo>
                    <a:pt x="22" y="425"/>
                  </a:lnTo>
                  <a:lnTo>
                    <a:pt x="63" y="427"/>
                  </a:lnTo>
                  <a:lnTo>
                    <a:pt x="66" y="427"/>
                  </a:lnTo>
                  <a:lnTo>
                    <a:pt x="66" y="429"/>
                  </a:lnTo>
                  <a:lnTo>
                    <a:pt x="68" y="453"/>
                  </a:lnTo>
                  <a:lnTo>
                    <a:pt x="85" y="457"/>
                  </a:lnTo>
                  <a:lnTo>
                    <a:pt x="85" y="457"/>
                  </a:lnTo>
                  <a:lnTo>
                    <a:pt x="85" y="459"/>
                  </a:lnTo>
                  <a:lnTo>
                    <a:pt x="90" y="470"/>
                  </a:lnTo>
                  <a:lnTo>
                    <a:pt x="90" y="470"/>
                  </a:lnTo>
                  <a:lnTo>
                    <a:pt x="92" y="488"/>
                  </a:lnTo>
                  <a:lnTo>
                    <a:pt x="98" y="496"/>
                  </a:lnTo>
                  <a:lnTo>
                    <a:pt x="114" y="492"/>
                  </a:lnTo>
                  <a:lnTo>
                    <a:pt x="148" y="451"/>
                  </a:lnTo>
                  <a:lnTo>
                    <a:pt x="148" y="449"/>
                  </a:lnTo>
                  <a:lnTo>
                    <a:pt x="151" y="449"/>
                  </a:lnTo>
                  <a:lnTo>
                    <a:pt x="190" y="444"/>
                  </a:lnTo>
                  <a:lnTo>
                    <a:pt x="216" y="405"/>
                  </a:lnTo>
                  <a:lnTo>
                    <a:pt x="216" y="403"/>
                  </a:lnTo>
                  <a:lnTo>
                    <a:pt x="218" y="405"/>
                  </a:lnTo>
                  <a:lnTo>
                    <a:pt x="236" y="425"/>
                  </a:lnTo>
                  <a:lnTo>
                    <a:pt x="253" y="414"/>
                  </a:lnTo>
                  <a:lnTo>
                    <a:pt x="260" y="386"/>
                  </a:lnTo>
                  <a:lnTo>
                    <a:pt x="260" y="386"/>
                  </a:lnTo>
                  <a:lnTo>
                    <a:pt x="262" y="386"/>
                  </a:lnTo>
                  <a:lnTo>
                    <a:pt x="305" y="384"/>
                  </a:lnTo>
                  <a:lnTo>
                    <a:pt x="316" y="368"/>
                  </a:lnTo>
                  <a:lnTo>
                    <a:pt x="321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40" y="314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5" y="286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27" y="262"/>
                  </a:lnTo>
                  <a:lnTo>
                    <a:pt x="375" y="241"/>
                  </a:lnTo>
                  <a:lnTo>
                    <a:pt x="430" y="186"/>
                  </a:lnTo>
                  <a:lnTo>
                    <a:pt x="467" y="139"/>
                  </a:lnTo>
                  <a:lnTo>
                    <a:pt x="473" y="124"/>
                  </a:lnTo>
                  <a:lnTo>
                    <a:pt x="434" y="119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5" name="Freeform 310">
              <a:extLst>
                <a:ext uri="{FF2B5EF4-FFF2-40B4-BE49-F238E27FC236}">
                  <a16:creationId xmlns:a16="http://schemas.microsoft.com/office/drawing/2014/main" xmlns="" id="{D853D283-73D2-462A-8137-A3BEAC89A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" y="2300"/>
              <a:ext cx="185" cy="251"/>
            </a:xfrm>
            <a:custGeom>
              <a:avLst/>
              <a:gdLst>
                <a:gd name="T0" fmla="*/ 162 w 185"/>
                <a:gd name="T1" fmla="*/ 251 h 251"/>
                <a:gd name="T2" fmla="*/ 185 w 185"/>
                <a:gd name="T3" fmla="*/ 223 h 251"/>
                <a:gd name="T4" fmla="*/ 131 w 185"/>
                <a:gd name="T5" fmla="*/ 152 h 251"/>
                <a:gd name="T6" fmla="*/ 164 w 185"/>
                <a:gd name="T7" fmla="*/ 58 h 251"/>
                <a:gd name="T8" fmla="*/ 140 w 185"/>
                <a:gd name="T9" fmla="*/ 39 h 251"/>
                <a:gd name="T10" fmla="*/ 120 w 185"/>
                <a:gd name="T11" fmla="*/ 54 h 251"/>
                <a:gd name="T12" fmla="*/ 39 w 185"/>
                <a:gd name="T13" fmla="*/ 0 h 251"/>
                <a:gd name="T14" fmla="*/ 29 w 185"/>
                <a:gd name="T15" fmla="*/ 15 h 251"/>
                <a:gd name="T16" fmla="*/ 31 w 185"/>
                <a:gd name="T17" fmla="*/ 80 h 251"/>
                <a:gd name="T18" fmla="*/ 0 w 185"/>
                <a:gd name="T19" fmla="*/ 113 h 251"/>
                <a:gd name="T20" fmla="*/ 9 w 185"/>
                <a:gd name="T21" fmla="*/ 156 h 251"/>
                <a:gd name="T22" fmla="*/ 61 w 185"/>
                <a:gd name="T23" fmla="*/ 154 h 251"/>
                <a:gd name="T24" fmla="*/ 120 w 185"/>
                <a:gd name="T25" fmla="*/ 227 h 251"/>
                <a:gd name="T26" fmla="*/ 162 w 185"/>
                <a:gd name="T27" fmla="*/ 251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5" h="251">
                  <a:moveTo>
                    <a:pt x="162" y="251"/>
                  </a:moveTo>
                  <a:lnTo>
                    <a:pt x="185" y="223"/>
                  </a:lnTo>
                  <a:lnTo>
                    <a:pt x="131" y="152"/>
                  </a:lnTo>
                  <a:lnTo>
                    <a:pt x="164" y="58"/>
                  </a:lnTo>
                  <a:lnTo>
                    <a:pt x="140" y="39"/>
                  </a:lnTo>
                  <a:lnTo>
                    <a:pt x="120" y="54"/>
                  </a:lnTo>
                  <a:lnTo>
                    <a:pt x="39" y="0"/>
                  </a:lnTo>
                  <a:lnTo>
                    <a:pt x="29" y="15"/>
                  </a:lnTo>
                  <a:lnTo>
                    <a:pt x="31" y="80"/>
                  </a:lnTo>
                  <a:lnTo>
                    <a:pt x="0" y="113"/>
                  </a:lnTo>
                  <a:lnTo>
                    <a:pt x="9" y="156"/>
                  </a:lnTo>
                  <a:lnTo>
                    <a:pt x="61" y="154"/>
                  </a:lnTo>
                  <a:lnTo>
                    <a:pt x="120" y="227"/>
                  </a:lnTo>
                  <a:lnTo>
                    <a:pt x="162" y="251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6" name="Freeform 311">
              <a:extLst>
                <a:ext uri="{FF2B5EF4-FFF2-40B4-BE49-F238E27FC236}">
                  <a16:creationId xmlns:a16="http://schemas.microsoft.com/office/drawing/2014/main" xmlns="" id="{70053A94-8BCB-42FC-A587-EDB3FAF1E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4" y="1973"/>
              <a:ext cx="59" cy="54"/>
            </a:xfrm>
            <a:custGeom>
              <a:avLst/>
              <a:gdLst>
                <a:gd name="T0" fmla="*/ 48 w 59"/>
                <a:gd name="T1" fmla="*/ 54 h 54"/>
                <a:gd name="T2" fmla="*/ 31 w 59"/>
                <a:gd name="T3" fmla="*/ 45 h 54"/>
                <a:gd name="T4" fmla="*/ 11 w 59"/>
                <a:gd name="T5" fmla="*/ 54 h 54"/>
                <a:gd name="T6" fmla="*/ 16 w 59"/>
                <a:gd name="T7" fmla="*/ 34 h 54"/>
                <a:gd name="T8" fmla="*/ 0 w 59"/>
                <a:gd name="T9" fmla="*/ 21 h 54"/>
                <a:gd name="T10" fmla="*/ 22 w 59"/>
                <a:gd name="T11" fmla="*/ 17 h 54"/>
                <a:gd name="T12" fmla="*/ 31 w 59"/>
                <a:gd name="T13" fmla="*/ 0 h 54"/>
                <a:gd name="T14" fmla="*/ 40 w 59"/>
                <a:gd name="T15" fmla="*/ 17 h 54"/>
                <a:gd name="T16" fmla="*/ 59 w 59"/>
                <a:gd name="T17" fmla="*/ 21 h 54"/>
                <a:gd name="T18" fmla="*/ 44 w 59"/>
                <a:gd name="T19" fmla="*/ 34 h 54"/>
                <a:gd name="T20" fmla="*/ 48 w 59"/>
                <a:gd name="T2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54">
                  <a:moveTo>
                    <a:pt x="48" y="54"/>
                  </a:moveTo>
                  <a:lnTo>
                    <a:pt x="31" y="45"/>
                  </a:lnTo>
                  <a:lnTo>
                    <a:pt x="11" y="54"/>
                  </a:lnTo>
                  <a:lnTo>
                    <a:pt x="16" y="34"/>
                  </a:lnTo>
                  <a:lnTo>
                    <a:pt x="0" y="21"/>
                  </a:lnTo>
                  <a:lnTo>
                    <a:pt x="22" y="17"/>
                  </a:lnTo>
                  <a:lnTo>
                    <a:pt x="31" y="0"/>
                  </a:lnTo>
                  <a:lnTo>
                    <a:pt x="40" y="17"/>
                  </a:lnTo>
                  <a:lnTo>
                    <a:pt x="59" y="21"/>
                  </a:lnTo>
                  <a:lnTo>
                    <a:pt x="44" y="34"/>
                  </a:lnTo>
                  <a:lnTo>
                    <a:pt x="48" y="54"/>
                  </a:lnTo>
                  <a:close/>
                </a:path>
              </a:pathLst>
            </a:custGeom>
            <a:grpFill/>
            <a:ln w="12700">
              <a:solidFill>
                <a:schemeClr val="bg1">
                  <a:alpha val="60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29A4775-F6E6-4051-9781-45E42ED372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5991" y="2571750"/>
            <a:ext cx="5789130" cy="1061621"/>
          </a:xfrm>
        </p:spPr>
        <p:txBody>
          <a:bodyPr anchor="t" anchorCtr="0">
            <a:noAutofit/>
          </a:bodyPr>
          <a:lstStyle>
            <a:lvl1pPr algn="l">
              <a:defRPr sz="21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Заголовок раздела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21B1D1A8-80F9-4954-9CBD-B5316FC02216}"/>
              </a:ext>
            </a:extLst>
          </p:cNvPr>
          <p:cNvCxnSpPr>
            <a:cxnSpLocks/>
          </p:cNvCxnSpPr>
          <p:nvPr userDrawn="1"/>
        </p:nvCxnSpPr>
        <p:spPr>
          <a:xfrm>
            <a:off x="373261" y="2537526"/>
            <a:ext cx="1128086" cy="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Текст 177">
            <a:extLst>
              <a:ext uri="{FF2B5EF4-FFF2-40B4-BE49-F238E27FC236}">
                <a16:creationId xmlns:a16="http://schemas.microsoft.com/office/drawing/2014/main" xmlns="" id="{DEB692A3-6B76-4ACB-AE39-F71E217A54C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2281" y="1905957"/>
            <a:ext cx="1111643" cy="603393"/>
          </a:xfrm>
        </p:spPr>
        <p:txBody>
          <a:bodyPr anchor="b" anchorCtr="0"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81" name="Рисунок 180">
            <a:extLst>
              <a:ext uri="{FF2B5EF4-FFF2-40B4-BE49-F238E27FC236}">
                <a16:creationId xmlns:a16="http://schemas.microsoft.com/office/drawing/2014/main" xmlns="" id="{508140DD-66A9-4943-9D34-FDF436084E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43751" t="93600" b="3600"/>
          <a:stretch/>
        </p:blipFill>
        <p:spPr>
          <a:xfrm rot="16200000" flipH="1" flipV="1">
            <a:off x="6494763" y="2494264"/>
            <a:ext cx="5143499" cy="154976"/>
          </a:xfrm>
          <a:prstGeom prst="rect">
            <a:avLst/>
          </a:prstGeom>
          <a:ln>
            <a:noFill/>
          </a:ln>
        </p:spPr>
      </p:pic>
      <p:pic>
        <p:nvPicPr>
          <p:cNvPr id="177" name="Рисунок 176">
            <a:extLst>
              <a:ext uri="{FF2B5EF4-FFF2-40B4-BE49-F238E27FC236}">
                <a16:creationId xmlns:a16="http://schemas.microsoft.com/office/drawing/2014/main" xmlns="" id="{4632A224-FF0A-479F-ABF5-7C7FB8D53E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14228"/>
          <a:stretch/>
        </p:blipFill>
        <p:spPr>
          <a:xfrm>
            <a:off x="260431" y="191759"/>
            <a:ext cx="746567" cy="79082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1208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>
            <a:extLst>
              <a:ext uri="{FF2B5EF4-FFF2-40B4-BE49-F238E27FC236}">
                <a16:creationId xmlns:a16="http://schemas.microsoft.com/office/drawing/2014/main" xmlns="" id="{CF7CF143-63DE-423F-AEAD-8174F2B65A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4988597"/>
            <a:ext cx="9144000" cy="154976"/>
          </a:xfrm>
          <a:prstGeom prst="rect">
            <a:avLst/>
          </a:prstGeom>
          <a:ln>
            <a:noFill/>
          </a:ln>
        </p:spPr>
      </p:pic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5008E69-A4D5-431D-981D-8E31E69EBE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27432"/>
            <a:ext cx="6405885" cy="567886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Текст 14">
            <a:extLst>
              <a:ext uri="{FF2B5EF4-FFF2-40B4-BE49-F238E27FC236}">
                <a16:creationId xmlns:a16="http://schemas.microsoft.com/office/drawing/2014/main" xmlns="" id="{692617C8-D96F-485F-A989-9306B914F1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451" y="3750822"/>
            <a:ext cx="8521559" cy="262748"/>
          </a:xfr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100">
                <a:solidFill>
                  <a:srgbClr val="005AA3"/>
                </a:solidFill>
              </a:defRPr>
            </a:lvl1pPr>
          </a:lstStyle>
          <a:p>
            <a:pPr lvl="0"/>
            <a:r>
              <a:rPr lang="ru-RU" dirty="0"/>
              <a:t>Вывод/примечание</a:t>
            </a:r>
          </a:p>
        </p:txBody>
      </p:sp>
      <p:sp>
        <p:nvSpPr>
          <p:cNvPr id="19" name="Номер слайда 5">
            <a:extLst>
              <a:ext uri="{FF2B5EF4-FFF2-40B4-BE49-F238E27FC236}">
                <a16:creationId xmlns:a16="http://schemas.microsoft.com/office/drawing/2014/main" xmlns="" id="{E10E80F1-BD81-42A8-98B7-5166948C9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Текст 25">
            <a:extLst>
              <a:ext uri="{FF2B5EF4-FFF2-40B4-BE49-F238E27FC236}">
                <a16:creationId xmlns:a16="http://schemas.microsoft.com/office/drawing/2014/main" xmlns="" id="{3477DBA2-3573-4345-B40B-21FD7BDA05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6706" y="4021678"/>
            <a:ext cx="8521304" cy="845597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2F9F1D5E-E35F-4EA1-8C8B-FDECD70CDE90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1220337" y="1152843"/>
            <a:ext cx="6703326" cy="198699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EED4286-F8E5-49CE-BB3A-BC7D2CE71A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24" y="111623"/>
            <a:ext cx="569341" cy="4674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41787397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77778695-FD75-4E7A-B0A3-EEB9B1ABCB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4988597"/>
            <a:ext cx="9144000" cy="154976"/>
          </a:xfrm>
          <a:prstGeom prst="rect">
            <a:avLst/>
          </a:prstGeom>
          <a:ln>
            <a:noFill/>
          </a:ln>
        </p:spPr>
      </p:pic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4D92B0B9-A0DC-4565-BA88-51940A01FBC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05992" y="955323"/>
            <a:ext cx="4192190" cy="617934"/>
          </a:xfrm>
        </p:spPr>
        <p:txBody>
          <a:bodyPr anchor="b">
            <a:normAutofit/>
          </a:bodyPr>
          <a:lstStyle>
            <a:lvl1pPr marL="400050" indent="0">
              <a:buNone/>
              <a:defRPr sz="1200" b="1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dirty="0"/>
              <a:t>Проблемы/Задачи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66E2C53B-C489-4E2C-A5BA-38D400D29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92590" y="1637344"/>
            <a:ext cx="3805592" cy="3229931"/>
          </a:xfrm>
        </p:spPr>
        <p:txBody>
          <a:bodyPr>
            <a:normAutofit/>
          </a:bodyPr>
          <a:lstStyle>
            <a:lvl1pPr>
              <a:buClr>
                <a:schemeClr val="accent3">
                  <a:lumMod val="75000"/>
                </a:schemeClr>
              </a:buClr>
              <a:defRPr sz="900"/>
            </a:lvl1pPr>
            <a:lvl2pPr>
              <a:buClr>
                <a:schemeClr val="accent3">
                  <a:lumMod val="75000"/>
                </a:schemeClr>
              </a:buClr>
              <a:defRPr sz="900"/>
            </a:lvl2pPr>
            <a:lvl3pPr>
              <a:buClr>
                <a:schemeClr val="accent3">
                  <a:lumMod val="75000"/>
                </a:schemeClr>
              </a:buClr>
              <a:defRPr sz="900"/>
            </a:lvl3pPr>
            <a:lvl4pPr>
              <a:buClr>
                <a:schemeClr val="accent3">
                  <a:lumMod val="75000"/>
                </a:schemeClr>
              </a:buClr>
              <a:defRPr sz="900"/>
            </a:lvl4pPr>
            <a:lvl5pPr>
              <a:buClr>
                <a:schemeClr val="accent3">
                  <a:lumMod val="75000"/>
                </a:schemeClr>
              </a:buCl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F516D273-F81E-46B4-8AF2-E5018CBFBCC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644443" y="955323"/>
            <a:ext cx="4193567" cy="617934"/>
          </a:xfrm>
        </p:spPr>
        <p:txBody>
          <a:bodyPr anchor="b">
            <a:normAutofit/>
          </a:bodyPr>
          <a:lstStyle>
            <a:lvl1pPr marL="400050" indent="0">
              <a:buNone/>
              <a:defRPr sz="1200" b="1">
                <a:solidFill>
                  <a:schemeClr val="tx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dirty="0"/>
              <a:t>Решения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29C019B-0578-4DF5-A8ED-EAAAD4DE361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38252" y="1637344"/>
            <a:ext cx="3805592" cy="3229931"/>
          </a:xfrm>
        </p:spPr>
        <p:txBody>
          <a:bodyPr>
            <a:normAutofit/>
          </a:bodyPr>
          <a:lstStyle>
            <a:lvl1pPr>
              <a:buClr>
                <a:schemeClr val="accent4"/>
              </a:buClr>
              <a:defRPr sz="900"/>
            </a:lvl1pPr>
            <a:lvl2pPr>
              <a:buClr>
                <a:schemeClr val="accent4"/>
              </a:buClr>
              <a:defRPr sz="900"/>
            </a:lvl2pPr>
            <a:lvl3pPr>
              <a:buClr>
                <a:schemeClr val="accent4"/>
              </a:buClr>
              <a:defRPr sz="900"/>
            </a:lvl3pPr>
            <a:lvl4pPr>
              <a:buClr>
                <a:schemeClr val="accent4"/>
              </a:buClr>
              <a:defRPr sz="900"/>
            </a:lvl4pPr>
            <a:lvl5pPr>
              <a:buClr>
                <a:schemeClr val="accent4"/>
              </a:buCl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Номер слайда 5">
            <a:extLst>
              <a:ext uri="{FF2B5EF4-FFF2-40B4-BE49-F238E27FC236}">
                <a16:creationId xmlns:a16="http://schemas.microsoft.com/office/drawing/2014/main" xmlns="" id="{4346E601-1C3A-4DE8-8CC4-3D2D17486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4924511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xmlns="" id="{3F5CD5BD-DE2C-4D54-95D6-4A362509B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6451" y="25938"/>
            <a:ext cx="6405885" cy="567886"/>
          </a:xfrm>
        </p:spPr>
        <p:txBody>
          <a:bodyPr anchor="b" anchorCtr="0">
            <a:normAutofit/>
          </a:bodyPr>
          <a:lstStyle>
            <a:lvl1pPr marL="0" indent="0" algn="l">
              <a:lnSpc>
                <a:spcPct val="100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CE51335C-E755-4E60-8A40-7F162F29A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24" y="111623"/>
            <a:ext cx="569341" cy="4674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391372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CF737C8E-1394-4892-812B-D45FCB3063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3600" b="3600"/>
          <a:stretch/>
        </p:blipFill>
        <p:spPr>
          <a:xfrm flipH="1" flipV="1">
            <a:off x="0" y="4988597"/>
            <a:ext cx="9144000" cy="154976"/>
          </a:xfrm>
          <a:prstGeom prst="rect">
            <a:avLst/>
          </a:prstGeom>
          <a:ln>
            <a:noFill/>
          </a:ln>
        </p:spPr>
      </p:pic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C4DD2327-0ADE-42BD-87A5-AB28B3B83C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1358020"/>
            <a:ext cx="4629150" cy="3037768"/>
          </a:xfrm>
        </p:spPr>
        <p:txBody>
          <a:bodyPr>
            <a:normAutofit/>
          </a:bodyPr>
          <a:lstStyle>
            <a:lvl1pPr>
              <a:buClr>
                <a:schemeClr val="bg2"/>
              </a:buClr>
              <a:defRPr sz="900"/>
            </a:lvl1pPr>
            <a:lvl2pPr>
              <a:buClr>
                <a:schemeClr val="bg2"/>
              </a:buClr>
              <a:defRPr sz="900"/>
            </a:lvl2pPr>
            <a:lvl3pPr>
              <a:buClr>
                <a:schemeClr val="bg2"/>
              </a:buClr>
              <a:defRPr sz="900"/>
            </a:lvl3pPr>
            <a:lvl4pPr>
              <a:buClr>
                <a:schemeClr val="bg2"/>
              </a:buClr>
              <a:defRPr sz="900"/>
            </a:lvl4pPr>
            <a:lvl5pPr>
              <a:buClr>
                <a:schemeClr val="bg2"/>
              </a:buClr>
              <a:defRPr sz="9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DD3393A3-6567-4EA4-8207-85262113A7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05991" y="1358020"/>
            <a:ext cx="3273028" cy="3043721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ABB6EA94-75E4-46E4-8A96-4600336F2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AD67C85F-6C73-4336-8AA2-AA2E8A432D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93" y="47260"/>
            <a:ext cx="6372546" cy="541856"/>
          </a:xfrm>
        </p:spPr>
        <p:txBody>
          <a:bodyPr anchor="b" anchorCtr="0">
            <a:normAutofit/>
          </a:bodyPr>
          <a:lstStyle>
            <a:lvl1pPr algn="l">
              <a:lnSpc>
                <a:spcPct val="100000"/>
              </a:lnSpc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xmlns="" id="{84D69547-9235-4717-8701-8794F48AE4F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5991" y="988022"/>
            <a:ext cx="3273028" cy="369998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xmlns="" id="{DA4ED758-1F68-422D-AE33-498C82BB4FB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87391" y="988022"/>
            <a:ext cx="3273028" cy="369998"/>
          </a:xfrm>
        </p:spPr>
        <p:txBody>
          <a:bodyPr anchor="b" anchorCtr="0"/>
          <a:lstStyle>
            <a:lvl4pPr marL="0" indent="0">
              <a:buNone/>
              <a:defRPr>
                <a:solidFill>
                  <a:schemeClr val="bg2"/>
                </a:solidFill>
              </a:defRPr>
            </a:lvl4pPr>
          </a:lstStyle>
          <a:p>
            <a:pPr lvl="3"/>
            <a:r>
              <a:rPr lang="ru-RU" dirty="0"/>
              <a:t>Тем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BC090BE7-58F0-4CD8-B442-895A8D1E8D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=""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30801" t="3339" r="25426" b="32774"/>
          <a:stretch/>
        </p:blipFill>
        <p:spPr>
          <a:xfrm>
            <a:off x="8414824" y="111623"/>
            <a:ext cx="569341" cy="467407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25963299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41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CE9A2B9D-22EB-4686-846F-33309114AC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="" xmlns:p14="http://schemas.microsoft.com/office/powerpoint/2010/main" val="6396222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p:oleObj spid="_x0000_s1078" name="Слайд think-cell" r:id="rId17" imgW="360" imgH="360" progId="">
              <p:embed/>
            </p:oleObj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90E2C84-6BA9-4610-BD40-42AFE446C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BB55CDB1-CDA5-4837-A794-1C4782C2BE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1657F28-66FE-4EDF-9F60-0699934D0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 b="1">
                <a:solidFill>
                  <a:schemeClr val="bg1"/>
                </a:solidFill>
              </a:defRPr>
            </a:lvl1pPr>
          </a:lstStyle>
          <a:p>
            <a:fld id="{EBA60C36-6C0B-4825-AF9C-32A916E7E83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93088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0" r:id="rId3"/>
    <p:sldLayoutId id="2147483661" r:id="rId4"/>
    <p:sldLayoutId id="2147483650" r:id="rId5"/>
    <p:sldLayoutId id="2147483651" r:id="rId6"/>
    <p:sldLayoutId id="2147483652" r:id="rId7"/>
    <p:sldLayoutId id="2147483653" r:id="rId8"/>
    <p:sldLayoutId id="2147483656" r:id="rId9"/>
    <p:sldLayoutId id="2147483654" r:id="rId10"/>
    <p:sldLayoutId id="2147483658" r:id="rId11"/>
    <p:sldLayoutId id="2147483657" r:id="rId12"/>
    <p:sldLayoutId id="2147483655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pos="257" userDrawn="1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://minobr.saratov.gov.ru/projects/837%20%20%D0%9E%20%D0%BC%D0%B5%D0%B6%D0%B2%D0%B5%D0%B4%D0%BE%D0%BC%D1%81%D1%82%D0%B2%D0%B5%D0%BD%D0%BD%D0%BE%D0%B9%20%D0%BA%D0%BE%D0%BC%D0%B8%D1%81%D0%B8%D0%B8.docx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://minobr.saratov.gov.ru/projects/%D0%A1%D0%B2%D0%BE%D0%B4%D0%BD%D0%B0%D1%8F%20%D0%BF%D0%BE%20%D0%B2%D0%B0%D0%BA%D0%B0%D0%BD%D1%81%D0%B8%D1%8F%D0%BC%20%D0%A1%D0%B0%D1%80%D0%B0%D1%82%D0%BE%D0%B2%D1%81%D0%BA%D0%B0%D1%8F%20%D0%BE%D0%B1%D0%BB%D0%B0%D1%81%D1%82%D1%8C%20(1).xlsx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hyperlink" Target="http://minobr.saratov.gov.ru/projects/%D0%9F%D0%9F%20%D0%A1%D0%9E%20%D0%BE%D1%82%2003.04.2023%20%E2%84%96%20275-%D0%9F%20%D1%83%D0%BF%D0%BE%D0%BB%D0%BD%D0%BE%D0%BC%D0%BE%D1%87%D0%B5%D0%BD%D0%BD%D1%8B%D0%B9%20%D0%BE%D1%80%D0%B3%D0%B0%D0%BD.pdf" TargetMode="External"/><Relationship Id="rId5" Type="http://schemas.openxmlformats.org/officeDocument/2006/relationships/hyperlink" Target="http://minobr.saratov.gov.ru/projects/142-%D1%80%2017-%D0%97%D0%A1%D0%9E%20%D0%BD%D0%B0%D0%BF%D1%80%D0%B0%D0%B2%D0%BB%D0%B5%D0%BD%D0%B8%D1%8F%20%D0%BD%D0%B0%20%D1%86%D0%B5%D0%BB%D0%B5%D0%B2%D0%BE%D0%B5!!!!.pdf" TargetMode="External"/><Relationship Id="rId4" Type="http://schemas.openxmlformats.org/officeDocument/2006/relationships/oleObject" Target="../embeddings/oleObject2.bin"/><Relationship Id="rId9" Type="http://schemas.openxmlformats.org/officeDocument/2006/relationships/hyperlink" Target="http://minobr.saratov.gov.ru/projects/%D0%9F%D1%80%D0%B8%D0%BA%D0%B0%D0%B7%20%E2%84%96%20778.docx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jpeg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0D5DBD64-FEE7-43B7-8075-A52D401F48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p:oleObj spid="_x0000_s64514" name="Слайд think-cell" r:id="rId4" imgW="360" imgH="360" progId="">
              <p:embed/>
            </p:oleObj>
          </a:graphicData>
        </a:graphic>
      </p:graphicFrame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xmlns="" id="{15B13D3F-7158-4024-BEC4-69FC81B0F6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</p:spPr>
        <p:txBody>
          <a:bodyPr/>
          <a:lstStyle/>
          <a:p>
            <a:fld id="{EBA60C36-6C0B-4825-AF9C-32A916E7E83D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360797" y="226613"/>
            <a:ext cx="363773" cy="244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ЦП</a:t>
            </a:r>
            <a:endParaRPr lang="ru-RU" sz="1200" dirty="0">
              <a:solidFill>
                <a:schemeClr val="tx1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8926" y="115902"/>
            <a:ext cx="842278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chemeClr val="tx2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ЕРЕЧЕНЬ ДОКУМЕНТОВ О ЦЕЛЕВОМ ОБУЧЕНИИ В САРАТОВСКОЙ ОБЛАСТИ</a:t>
            </a:r>
            <a:endParaRPr lang="ru-RU" sz="1100" b="1" dirty="0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46221" y="354173"/>
            <a:ext cx="6754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убликованы на сайте министерства образования </a:t>
            </a:r>
            <a:r>
              <a:rPr lang="en-US" sz="12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аратовской области </a:t>
            </a:r>
          </a:p>
          <a:p>
            <a:pPr algn="ctr"/>
            <a:r>
              <a:rPr lang="en-US" sz="1200" b="1" i="1" dirty="0" smtClean="0">
                <a:solidFill>
                  <a:schemeClr val="accent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obr.saratov.gov.ru </a:t>
            </a:r>
            <a:endParaRPr lang="ru-RU" sz="1200" b="1" i="1" dirty="0" smtClean="0">
              <a:solidFill>
                <a:schemeClr val="accent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b="1" i="1" dirty="0" smtClean="0">
                <a:solidFill>
                  <a:schemeClr val="accent2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(раздел «Целевое обучение»)</a:t>
            </a:r>
            <a:endParaRPr lang="ru-RU" sz="1200" b="1" i="1" dirty="0">
              <a:solidFill>
                <a:schemeClr val="accent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94704" y="1262130"/>
            <a:ext cx="696747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hlinkClick r:id="rId5"/>
              </a:rPr>
              <a:t>Закон Саратовской области от 22.02.2023 № 17-ЗСО</a:t>
            </a:r>
            <a:r>
              <a:rPr lang="ru-RU" sz="1200" dirty="0" smtClean="0">
                <a:hlinkClick r:id="rId5"/>
              </a:rPr>
              <a:t> </a:t>
            </a:r>
            <a:endParaRPr lang="ru-RU" sz="1200" dirty="0" smtClean="0"/>
          </a:p>
          <a:p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b="1" dirty="0" smtClean="0">
                <a:hlinkClick r:id="rId6"/>
              </a:rPr>
              <a:t>Постановление Правительства Саратовской области от 3.04.2023 № 275-П</a:t>
            </a:r>
            <a:r>
              <a:rPr lang="ru-RU" sz="1200" dirty="0" smtClean="0"/>
              <a:t/>
            </a:r>
            <a:br>
              <a:rPr lang="ru-RU" sz="1200" dirty="0" smtClean="0"/>
            </a:br>
            <a:endParaRPr lang="ru-RU" sz="1200" dirty="0" smtClean="0"/>
          </a:p>
          <a:p>
            <a:r>
              <a:rPr lang="ru-RU" sz="1200" b="1" dirty="0" smtClean="0">
                <a:hlinkClick r:id="rId7"/>
              </a:rPr>
              <a:t>Перечень вакансий для заключения договоров о целевом обучении</a:t>
            </a:r>
            <a:endParaRPr lang="ru-RU" sz="1200" dirty="0" smtClean="0"/>
          </a:p>
          <a:p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ru-RU" sz="1200" b="1" dirty="0" smtClean="0">
                <a:hlinkClick r:id="rId8"/>
              </a:rPr>
              <a:t>Приказ министерства образования Саратовской области от 15.05.2023 № 837</a:t>
            </a:r>
            <a:r>
              <a:rPr lang="ru-RU" sz="1200" dirty="0" smtClean="0">
                <a:hlinkClick r:id="rId8"/>
              </a:rPr>
              <a:t> "О межведомственной комиссии"</a:t>
            </a:r>
            <a:r>
              <a:rPr lang="ru-RU" sz="1200" dirty="0" smtClean="0"/>
              <a:t/>
            </a:r>
            <a:br>
              <a:rPr lang="ru-RU" sz="1200" dirty="0" smtClean="0"/>
            </a:br>
            <a:endParaRPr lang="ru-RU" sz="1200" dirty="0" smtClean="0"/>
          </a:p>
          <a:p>
            <a:r>
              <a:rPr lang="ru-RU" sz="1200" b="1" dirty="0" smtClean="0">
                <a:hlinkClick r:id="rId9"/>
              </a:rPr>
              <a:t>Приказ министерства образования области от 05.05.2023 № 778</a:t>
            </a:r>
            <a:r>
              <a:rPr lang="ru-RU" sz="1200" dirty="0" smtClean="0">
                <a:hlinkClick r:id="rId9"/>
              </a:rPr>
              <a:t> "Об утверждении Правил конкурсного отбора граждан в целях выдачи им направлений для заключения договоров о целевом обучении с государственными органами области (за исключением заключения договоров о целевом обучении с обязательством последующего прохождения государственной гражданской службы области), областными государственными организациями, органами местного самоуправления (за исключением заключения договоров о целевом обучении с обязательством последующего прохождения муниципальной службы) и муниципальными организациями"</a:t>
            </a:r>
            <a:endParaRPr lang="ru-RU" sz="1200" dirty="0" smtClean="0"/>
          </a:p>
          <a:p>
            <a:endParaRPr lang="ru-RU" sz="1200" dirty="0"/>
          </a:p>
        </p:txBody>
      </p:sp>
    </p:spTree>
    <p:extLst>
      <p:ext uri="{BB962C8B-B14F-4D97-AF65-F5344CB8AC3E}">
        <p14:creationId xmlns="" xmlns:p14="http://schemas.microsoft.com/office/powerpoint/2010/main" val="39895849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3">
            <a:extLst>
              <a:ext uri="{FF2B5EF4-FFF2-40B4-BE49-F238E27FC236}">
                <a16:creationId xmlns:a16="http://schemas.microsoft.com/office/drawing/2014/main" xmlns="" id="{75AC80D8-E868-F517-E9E7-80ECA8615D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39778769"/>
              </p:ext>
            </p:extLst>
          </p:nvPr>
        </p:nvGraphicFramePr>
        <p:xfrm>
          <a:off x="281238" y="693264"/>
          <a:ext cx="8696757" cy="400717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05139">
                  <a:extLst>
                    <a:ext uri="{9D8B030D-6E8A-4147-A177-3AD203B41FA5}">
                      <a16:colId xmlns:a16="http://schemas.microsoft.com/office/drawing/2014/main" xmlns="" val="2715691065"/>
                    </a:ext>
                  </a:extLst>
                </a:gridCol>
                <a:gridCol w="6891618">
                  <a:extLst>
                    <a:ext uri="{9D8B030D-6E8A-4147-A177-3AD203B41FA5}">
                      <a16:colId xmlns:a16="http://schemas.microsoft.com/office/drawing/2014/main" xmlns="" val="754003794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336766391"/>
                  </a:ext>
                </a:extLst>
              </a:tr>
              <a:tr h="69261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800" kern="1200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Open Sans" panose="020B0606030504020204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434265987"/>
                  </a:ext>
                </a:extLst>
              </a:tr>
              <a:tr h="596366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193908023"/>
                  </a:ext>
                </a:extLst>
              </a:tr>
              <a:tr h="961630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675447437"/>
                  </a:ext>
                </a:extLst>
              </a:tr>
              <a:tr h="682580">
                <a:tc>
                  <a:txBody>
                    <a:bodyPr/>
                    <a:lstStyle/>
                    <a:p>
                      <a:endParaRPr lang="ru-RU" sz="1100" b="1" kern="1200" dirty="0">
                        <a:solidFill>
                          <a:prstClr val="black"/>
                        </a:solidFill>
                        <a:latin typeface="DIN Pro Regular" panose="020B0504020101020102" pitchFamily="34" charset="0"/>
                        <a:ea typeface="Open Sans" panose="020B0606030504020204" pitchFamily="34" charset="0"/>
                        <a:cs typeface="DIN Pro Regular" panose="020B0504020101020102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</a:tr>
              <a:tr h="792051">
                <a:tc>
                  <a:txBody>
                    <a:bodyPr/>
                    <a:lstStyle/>
                    <a:p>
                      <a:endParaRPr lang="ru-RU" sz="1100" b="1" kern="1200" dirty="0" smtClean="0">
                        <a:solidFill>
                          <a:prstClr val="black"/>
                        </a:solidFill>
                        <a:latin typeface="DIN Pro Regular" panose="020B0504020101020102" pitchFamily="34" charset="0"/>
                        <a:ea typeface="Open Sans" panose="020B0606030504020204" pitchFamily="34" charset="0"/>
                        <a:cs typeface="DIN Pro Regular" panose="020B0504020101020102" pitchFamily="34" charset="0"/>
                      </a:endParaRPr>
                    </a:p>
                    <a:p>
                      <a:endParaRPr lang="ru-RU" sz="1100" b="1" kern="1200" dirty="0">
                        <a:solidFill>
                          <a:prstClr val="black"/>
                        </a:solidFill>
                        <a:latin typeface="DIN Pro Regular" panose="020B0504020101020102" pitchFamily="34" charset="0"/>
                        <a:ea typeface="Open Sans" panose="020B0606030504020204" pitchFamily="34" charset="0"/>
                        <a:cs typeface="DIN Pro Regular" panose="020B0504020101020102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68580" marR="68580" marT="34290" marB="34290"/>
                </a:tc>
              </a:tr>
            </a:tbl>
          </a:graphicData>
        </a:graphic>
      </p:graphicFrame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4AA797F5-DF60-45A1-B813-30EAB6B768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p:oleObj spid="_x0000_s46103" name="Слайд think-cell" r:id="rId4" imgW="360" imgH="360" progId="">
              <p:embed/>
            </p:oleObj>
          </a:graphicData>
        </a:graphic>
      </p:graphicFrame>
      <p:sp>
        <p:nvSpPr>
          <p:cNvPr id="28" name="Заголовок 1">
            <a:extLst>
              <a:ext uri="{FF2B5EF4-FFF2-40B4-BE49-F238E27FC236}">
                <a16:creationId xmlns:a16="http://schemas.microsoft.com/office/drawing/2014/main" xmlns="" id="{AAA89A31-AE99-4E94-922F-C0FAC6FBF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73" y="78729"/>
            <a:ext cx="8045499" cy="307637"/>
          </a:xfrm>
        </p:spPr>
        <p:txBody>
          <a:bodyPr vert="horz">
            <a:noAutofit/>
          </a:bodyPr>
          <a:lstStyle/>
          <a:p>
            <a:pPr algn="ctr"/>
            <a:r>
              <a:rPr lang="ru-RU" sz="900" b="1" dirty="0"/>
              <a:t>Клиентский путь </a:t>
            </a:r>
            <a:r>
              <a:rPr lang="ru-RU" sz="900" b="1" dirty="0" smtClean="0"/>
              <a:t/>
            </a:r>
            <a:br>
              <a:rPr lang="ru-RU" sz="900" b="1" dirty="0" smtClean="0"/>
            </a:br>
            <a:r>
              <a:rPr lang="ru-RU" sz="900" b="1" dirty="0" smtClean="0"/>
              <a:t>Порядок действий для поступления на целевое обучение в ВУЗах, расположенных на территории Саратовской области</a:t>
            </a:r>
            <a:endParaRPr lang="ru-RU" sz="900" b="1" dirty="0"/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3D4E2513-BADB-4714-957D-04BD4F6AA82D}"/>
              </a:ext>
            </a:extLst>
          </p:cNvPr>
          <p:cNvSpPr txBox="1"/>
          <p:nvPr/>
        </p:nvSpPr>
        <p:spPr>
          <a:xfrm>
            <a:off x="2105696" y="719707"/>
            <a:ext cx="6857999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 smtClean="0">
                <a:latin typeface="DIN Pro Regular" panose="020B0504020101020102" pitchFamily="34" charset="0"/>
                <a:ea typeface="Open Sans" panose="020B0606030504020204" pitchFamily="34" charset="0"/>
                <a:cs typeface="DIN Pro Regular" panose="020B0504020101020102" pitchFamily="34" charset="0"/>
              </a:rPr>
              <a:t>Процесс</a:t>
            </a:r>
            <a:endParaRPr lang="ru-RU" sz="1100" b="1" dirty="0">
              <a:latin typeface="DIN Pro Regular" panose="020B0504020101020102" pitchFamily="34" charset="0"/>
              <a:ea typeface="Open Sans" panose="020B0606030504020204" pitchFamily="34" charset="0"/>
              <a:cs typeface="DIN Pro Regular" panose="020B0504020101020102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C6457CD7-3E7C-429E-AD7B-8688F37AAB71}"/>
              </a:ext>
            </a:extLst>
          </p:cNvPr>
          <p:cNvSpPr txBox="1"/>
          <p:nvPr/>
        </p:nvSpPr>
        <p:spPr>
          <a:xfrm>
            <a:off x="2158063" y="1004555"/>
            <a:ext cx="3688946" cy="62324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1.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До 1 июня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- </a:t>
            </a:r>
            <a:r>
              <a:rPr lang="ru-RU" sz="12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убликация на сайте уполномоченного исполнительного органа потребности в специалистах для заключения договоров о целевом обучении</a:t>
            </a:r>
            <a:endParaRPr lang="ru-RU" sz="1200" dirty="0">
              <a:solidFill>
                <a:srgbClr val="000000"/>
              </a:solidFill>
              <a:latin typeface="Times New Roman" panose="02020603050405020304" pitchFamily="18" charset="0"/>
              <a:ea typeface="Open Sans" panose="020B0606030504020204"/>
              <a:cs typeface="Times New Roman" panose="02020603050405020304" pitchFamily="18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xmlns="" id="{1F6D237A-BA0E-4425-86C7-40B4FC949F86}"/>
              </a:ext>
            </a:extLst>
          </p:cNvPr>
          <p:cNvSpPr txBox="1"/>
          <p:nvPr/>
        </p:nvSpPr>
        <p:spPr>
          <a:xfrm>
            <a:off x="268229" y="1663037"/>
            <a:ext cx="1805270" cy="5770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100" b="1" dirty="0" smtClean="0">
                <a:latin typeface="PT Astra Serif" pitchFamily="18" charset="-52"/>
                <a:ea typeface="PT Astra Serif" pitchFamily="18" charset="-52"/>
                <a:cs typeface="DIN Pro Regular" panose="020B0504020101020102" pitchFamily="34" charset="0"/>
              </a:rPr>
              <a:t>Гражданин, подающий документы на целевое обучение</a:t>
            </a:r>
          </a:p>
        </p:txBody>
      </p:sp>
      <p:cxnSp>
        <p:nvCxnSpPr>
          <p:cNvPr id="59" name="Соединительная линия уступом 301">
            <a:extLst>
              <a:ext uri="{FF2B5EF4-FFF2-40B4-BE49-F238E27FC236}">
                <a16:creationId xmlns:a16="http://schemas.microsoft.com/office/drawing/2014/main" xmlns="" id="{E0E5B419-1EAC-4BDA-BDD6-6E709A373152}"/>
              </a:ext>
            </a:extLst>
          </p:cNvPr>
          <p:cNvCxnSpPr>
            <a:cxnSpLocks/>
          </p:cNvCxnSpPr>
          <p:nvPr/>
        </p:nvCxnSpPr>
        <p:spPr>
          <a:xfrm>
            <a:off x="5840569" y="1348376"/>
            <a:ext cx="238259" cy="3906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306E41D3-5E72-4F62-A7AC-E2639CFB8A4F}"/>
              </a:ext>
            </a:extLst>
          </p:cNvPr>
          <p:cNvSpPr txBox="1"/>
          <p:nvPr/>
        </p:nvSpPr>
        <p:spPr>
          <a:xfrm>
            <a:off x="266392" y="383465"/>
            <a:ext cx="8101409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100" b="1" dirty="0">
                <a:latin typeface="DIN Pro Regular" panose="020B0504020101020102" pitchFamily="34" charset="0"/>
                <a:ea typeface="Open Sans" pitchFamily="2" charset="0"/>
                <a:cs typeface="DIN Pro Regular" panose="020B0504020101020102" pitchFamily="34" charset="0"/>
              </a:rPr>
              <a:t>Клиентская группа: </a:t>
            </a:r>
            <a:r>
              <a:rPr lang="ru-RU" sz="1100" dirty="0" smtClean="0">
                <a:latin typeface="DIN Pro Regular" panose="020B0504020101020102" pitchFamily="34" charset="0"/>
                <a:ea typeface="Open Sans" pitchFamily="2" charset="0"/>
                <a:cs typeface="DIN Pro Regular" panose="020B0504020101020102" pitchFamily="34" charset="0"/>
              </a:rPr>
              <a:t>гражданин, желающий поступить в ВУЗ на условиях целевого обучения</a:t>
            </a:r>
            <a:endParaRPr lang="ru-RU" sz="1100" dirty="0">
              <a:latin typeface="DIN Pro Regular" panose="020B0504020101020102" pitchFamily="34" charset="0"/>
              <a:ea typeface="Open Sans" pitchFamily="2" charset="0"/>
              <a:cs typeface="DIN Pro Regular" panose="020B0504020101020102" pitchFamily="34" charset="0"/>
            </a:endParaRPr>
          </a:p>
        </p:txBody>
      </p:sp>
      <p:sp>
        <p:nvSpPr>
          <p:cNvPr id="40" name="Номер слайда 3">
            <a:extLst>
              <a:ext uri="{FF2B5EF4-FFF2-40B4-BE49-F238E27FC236}">
                <a16:creationId xmlns:a16="http://schemas.microsoft.com/office/drawing/2014/main" xmlns="" id="{EA9CC659-5372-4426-82F8-87DEF66B9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</p:spPr>
        <p:txBody>
          <a:bodyPr/>
          <a:lstStyle/>
          <a:p>
            <a:fld id="{EBA60C36-6C0B-4825-AF9C-32A916E7E83D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E448090D-1F2F-4D64-84C5-B05B1BC3A55A}"/>
              </a:ext>
            </a:extLst>
          </p:cNvPr>
          <p:cNvSpPr txBox="1"/>
          <p:nvPr/>
        </p:nvSpPr>
        <p:spPr>
          <a:xfrm>
            <a:off x="280157" y="1016188"/>
            <a:ext cx="1735388" cy="5770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100" b="1" dirty="0" smtClean="0">
                <a:latin typeface="PT Astra Serif" pitchFamily="18" charset="-52"/>
                <a:ea typeface="PT Astra Serif" pitchFamily="18" charset="-52"/>
                <a:cs typeface="DIN Pro Regular" panose="020B0504020101020102" pitchFamily="34" charset="0"/>
              </a:rPr>
              <a:t>Министерство образования Саратовской области</a:t>
            </a:r>
            <a:endParaRPr lang="ru-RU" sz="1100" b="1" dirty="0">
              <a:latin typeface="PT Astra Serif" pitchFamily="18" charset="-52"/>
              <a:ea typeface="PT Astra Serif" pitchFamily="18" charset="-52"/>
              <a:cs typeface="DIN Pro Regular" panose="020B0504020101020102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6085268" y="1012673"/>
            <a:ext cx="2846231" cy="62324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2.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Консультирование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граждан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о адресу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: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г. Саратов, ул. Соляная, 15, </a:t>
            </a:r>
            <a:r>
              <a:rPr lang="ru-RU" sz="1200" b="1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каб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. 106, телефон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: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 8 845-2 (28-24-60)</a:t>
            </a:r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  <a:ea typeface="Open Sans" panose="020B0606030504020204"/>
              <a:cs typeface="Times New Roman" panose="02020603050405020304" pitchFamily="18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AB938317-951A-4F72-BB70-2F66530CFD1F}"/>
              </a:ext>
            </a:extLst>
          </p:cNvPr>
          <p:cNvSpPr txBox="1"/>
          <p:nvPr/>
        </p:nvSpPr>
        <p:spPr>
          <a:xfrm>
            <a:off x="268229" y="2257501"/>
            <a:ext cx="1657161" cy="40780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lvl="0">
              <a:defRPr/>
            </a:pPr>
            <a:r>
              <a:rPr lang="ru-RU" sz="1100" b="1" dirty="0" smtClean="0">
                <a:latin typeface="PT Astra Serif" pitchFamily="18" charset="-52"/>
                <a:ea typeface="PT Astra Serif" pitchFamily="18" charset="-52"/>
                <a:cs typeface="DIN Pro Regular" panose="020B0504020101020102" pitchFamily="34" charset="0"/>
              </a:rPr>
              <a:t>Межведомственная комиссия</a:t>
            </a:r>
          </a:p>
        </p:txBody>
      </p:sp>
      <p:cxnSp>
        <p:nvCxnSpPr>
          <p:cNvPr id="70" name="Соединительная линия уступом 301">
            <a:extLst>
              <a:ext uri="{FF2B5EF4-FFF2-40B4-BE49-F238E27FC236}">
                <a16:creationId xmlns:a16="http://schemas.microsoft.com/office/drawing/2014/main" xmlns="" id="{EDFD3302-AE3E-4801-950D-D87E5CF2DF17}"/>
              </a:ext>
            </a:extLst>
          </p:cNvPr>
          <p:cNvCxnSpPr>
            <a:cxnSpLocks/>
            <a:stCxn id="43" idx="2"/>
            <a:endCxn id="21" idx="3"/>
          </p:cNvCxnSpPr>
          <p:nvPr/>
        </p:nvCxnSpPr>
        <p:spPr>
          <a:xfrm rot="5400000">
            <a:off x="6968075" y="1403498"/>
            <a:ext cx="307887" cy="772733"/>
          </a:xfrm>
          <a:prstGeom prst="bentConnector2">
            <a:avLst/>
          </a:prstGeom>
          <a:ln w="19050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2182969" y="1724517"/>
            <a:ext cx="4552682" cy="43858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3.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С 1 июня по 5 июля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- Подача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документов в уполномоченный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орган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о адресу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: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 г. Саратов, ул. Соляная, 15, </a:t>
            </a:r>
            <a:r>
              <a:rPr lang="ru-RU" sz="1200" b="1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каб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. 106</a:t>
            </a:r>
            <a:endParaRPr lang="ru-RU" sz="1200" b="1" dirty="0" smtClean="0">
              <a:solidFill>
                <a:srgbClr val="000000"/>
              </a:solidFill>
              <a:latin typeface="Times New Roman" panose="02020603050405020304" pitchFamily="18" charset="0"/>
              <a:ea typeface="Open Sans" panose="020B0606030504020204"/>
              <a:cs typeface="Times New Roman" panose="02020603050405020304" pitchFamily="18" charset="0"/>
            </a:endParaRPr>
          </a:p>
        </p:txBody>
      </p:sp>
      <p:cxnSp>
        <p:nvCxnSpPr>
          <p:cNvPr id="30" name="Прямая со стрелкой 29"/>
          <p:cNvCxnSpPr/>
          <p:nvPr/>
        </p:nvCxnSpPr>
        <p:spPr>
          <a:xfrm rot="5400000">
            <a:off x="3484110" y="2303057"/>
            <a:ext cx="298101" cy="2635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8360797" y="226613"/>
            <a:ext cx="363773" cy="244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ЦП</a:t>
            </a:r>
            <a:endParaRPr lang="ru-RU" sz="1200" dirty="0">
              <a:solidFill>
                <a:schemeClr val="tx1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E448090D-1F2F-4D64-84C5-B05B1BC3A55A}"/>
              </a:ext>
            </a:extLst>
          </p:cNvPr>
          <p:cNvSpPr txBox="1"/>
          <p:nvPr/>
        </p:nvSpPr>
        <p:spPr>
          <a:xfrm>
            <a:off x="278009" y="2668976"/>
            <a:ext cx="1735388" cy="5770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100" b="1" dirty="0" smtClean="0">
                <a:latin typeface="PT Astra Serif" pitchFamily="18" charset="-52"/>
                <a:ea typeface="PT Astra Serif" pitchFamily="18" charset="-52"/>
                <a:cs typeface="DIN Pro Regular" panose="020B0504020101020102" pitchFamily="34" charset="0"/>
              </a:rPr>
              <a:t>Министерство образования Саратовской области</a:t>
            </a:r>
            <a:endParaRPr lang="ru-RU" sz="1100" b="1" dirty="0">
              <a:latin typeface="PT Astra Serif" pitchFamily="18" charset="-52"/>
              <a:ea typeface="PT Astra Serif" pitchFamily="18" charset="-52"/>
              <a:cs typeface="DIN Pro Regular" panose="020B0504020101020102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E448090D-1F2F-4D64-84C5-B05B1BC3A55A}"/>
              </a:ext>
            </a:extLst>
          </p:cNvPr>
          <p:cNvSpPr txBox="1"/>
          <p:nvPr/>
        </p:nvSpPr>
        <p:spPr>
          <a:xfrm>
            <a:off x="288743" y="4109250"/>
            <a:ext cx="1797634" cy="40780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100" b="1" dirty="0" smtClean="0">
                <a:latin typeface="PT Astra Serif" pitchFamily="18" charset="-52"/>
                <a:ea typeface="PT Astra Serif" pitchFamily="18" charset="-52"/>
                <a:cs typeface="DIN Pro Regular" panose="020B0504020101020102" pitchFamily="34" charset="0"/>
              </a:rPr>
              <a:t>Гражданин, получивший целевое направление</a:t>
            </a:r>
            <a:endParaRPr lang="ru-RU" sz="1100" b="1" dirty="0">
              <a:latin typeface="PT Astra Serif" pitchFamily="18" charset="-52"/>
              <a:ea typeface="PT Astra Serif" pitchFamily="18" charset="-52"/>
              <a:cs typeface="DIN Pro Regular" panose="020B0504020101020102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E448090D-1F2F-4D64-84C5-B05B1BC3A55A}"/>
              </a:ext>
            </a:extLst>
          </p:cNvPr>
          <p:cNvSpPr txBox="1"/>
          <p:nvPr/>
        </p:nvSpPr>
        <p:spPr>
          <a:xfrm>
            <a:off x="284449" y="3274277"/>
            <a:ext cx="1735388" cy="5770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100" b="1" dirty="0" smtClean="0">
                <a:latin typeface="PT Astra Serif" pitchFamily="18" charset="-52"/>
                <a:ea typeface="PT Astra Serif" pitchFamily="18" charset="-52"/>
                <a:cs typeface="DIN Pro Regular" panose="020B0504020101020102" pitchFamily="34" charset="0"/>
              </a:rPr>
              <a:t>Министерство образования Саратовской области</a:t>
            </a:r>
            <a:endParaRPr lang="ru-RU" sz="1100" b="1" dirty="0">
              <a:latin typeface="PT Astra Serif" pitchFamily="18" charset="-52"/>
              <a:ea typeface="PT Astra Serif" pitchFamily="18" charset="-52"/>
              <a:cs typeface="DIN Pro Regular" panose="020B0504020101020102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2202287" y="2469345"/>
            <a:ext cx="2899970" cy="62324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4.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6 июля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- Рассмотрение документов на заседании межведомственной комиссии. Подписание протокола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5658109" y="2473638"/>
            <a:ext cx="2899970" cy="623248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5.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7 июля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– Утверждение и публикация списка лиц для получения целевых направлений</a:t>
            </a:r>
          </a:p>
        </p:txBody>
      </p:sp>
      <p:cxnSp>
        <p:nvCxnSpPr>
          <p:cNvPr id="66" name="Соединительная линия уступом 301">
            <a:extLst>
              <a:ext uri="{FF2B5EF4-FFF2-40B4-BE49-F238E27FC236}">
                <a16:creationId xmlns:a16="http://schemas.microsoft.com/office/drawing/2014/main" xmlns="" id="{E0E5B419-1EAC-4BDA-BDD6-6E709A373152}"/>
              </a:ext>
            </a:extLst>
          </p:cNvPr>
          <p:cNvCxnSpPr>
            <a:cxnSpLocks/>
            <a:stCxn id="60" idx="3"/>
            <a:endCxn id="62" idx="1"/>
          </p:cNvCxnSpPr>
          <p:nvPr/>
        </p:nvCxnSpPr>
        <p:spPr>
          <a:xfrm>
            <a:off x="5102257" y="2780969"/>
            <a:ext cx="555852" cy="4293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2180823" y="3383756"/>
            <a:ext cx="3691943" cy="43858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6.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С 10 по 23 июля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–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Выдача целевых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направлений по адресу</a:t>
            </a:r>
            <a:r>
              <a:rPr lang="en-US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: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 г. Саратов, ул. Соляная, 15, </a:t>
            </a:r>
            <a:r>
              <a:rPr lang="ru-RU" sz="1200" b="1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каб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. 106</a:t>
            </a:r>
            <a:endParaRPr lang="ru-RU" sz="1200" b="1" dirty="0" smtClean="0">
              <a:solidFill>
                <a:srgbClr val="000000"/>
              </a:solidFill>
              <a:latin typeface="Times New Roman" panose="02020603050405020304" pitchFamily="18" charset="0"/>
              <a:ea typeface="Open Sans" panose="020B0606030504020204"/>
              <a:cs typeface="Times New Roman" panose="02020603050405020304" pitchFamily="18" charset="0"/>
            </a:endParaRPr>
          </a:p>
        </p:txBody>
      </p:sp>
      <p:cxnSp>
        <p:nvCxnSpPr>
          <p:cNvPr id="72" name="Прямая со стрелкой 71"/>
          <p:cNvCxnSpPr/>
          <p:nvPr/>
        </p:nvCxnSpPr>
        <p:spPr>
          <a:xfrm rot="5400000">
            <a:off x="3469085" y="3228189"/>
            <a:ext cx="298101" cy="2635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2225898" y="4115687"/>
            <a:ext cx="2899970" cy="43858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7.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С 10 по 23 июля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– Заключение целевых договоров с работодателями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536ACC2B-3207-443C-8AC3-9FB512E1E729}"/>
              </a:ext>
            </a:extLst>
          </p:cNvPr>
          <p:cNvSpPr txBox="1"/>
          <p:nvPr/>
        </p:nvSpPr>
        <p:spPr>
          <a:xfrm>
            <a:off x="5681720" y="4119980"/>
            <a:ext cx="2899970" cy="43858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68580" tIns="34290" rIns="68580" bIns="34290" rtlCol="0">
            <a:spAutoFit/>
          </a:bodyPr>
          <a:lstStyle/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5.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С 10 по 25 июля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– Подача целевых договоров в приемные комиссии ВУЗов</a:t>
            </a:r>
          </a:p>
        </p:txBody>
      </p:sp>
      <p:cxnSp>
        <p:nvCxnSpPr>
          <p:cNvPr id="75" name="Соединительная линия уступом 301">
            <a:extLst>
              <a:ext uri="{FF2B5EF4-FFF2-40B4-BE49-F238E27FC236}">
                <a16:creationId xmlns:a16="http://schemas.microsoft.com/office/drawing/2014/main" xmlns="" id="{E0E5B419-1EAC-4BDA-BDD6-6E709A373152}"/>
              </a:ext>
            </a:extLst>
          </p:cNvPr>
          <p:cNvCxnSpPr>
            <a:cxnSpLocks/>
            <a:stCxn id="73" idx="3"/>
            <a:endCxn id="74" idx="1"/>
          </p:cNvCxnSpPr>
          <p:nvPr/>
        </p:nvCxnSpPr>
        <p:spPr>
          <a:xfrm>
            <a:off x="5125868" y="4334978"/>
            <a:ext cx="555852" cy="4293"/>
          </a:xfrm>
          <a:prstGeom prst="straightConnector1">
            <a:avLst/>
          </a:prstGeom>
          <a:ln w="19050">
            <a:solidFill>
              <a:schemeClr val="accent1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/>
          <p:cNvSpPr txBox="1"/>
          <p:nvPr/>
        </p:nvSpPr>
        <p:spPr>
          <a:xfrm>
            <a:off x="283335" y="701899"/>
            <a:ext cx="18030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latin typeface="DIN Pro Regular" panose="020B0504020101020102" pitchFamily="34" charset="0"/>
                <a:ea typeface="Open Sans" panose="020B0606030504020204" pitchFamily="34" charset="0"/>
                <a:cs typeface="DIN Pro Regular" panose="020B0504020101020102" pitchFamily="34" charset="0"/>
              </a:rPr>
              <a:t>Ответственные</a:t>
            </a:r>
          </a:p>
        </p:txBody>
      </p:sp>
      <p:cxnSp>
        <p:nvCxnSpPr>
          <p:cNvPr id="82" name="Прямая со стрелкой 81"/>
          <p:cNvCxnSpPr/>
          <p:nvPr/>
        </p:nvCxnSpPr>
        <p:spPr>
          <a:xfrm rot="5400000">
            <a:off x="3466938" y="3966578"/>
            <a:ext cx="298101" cy="2635"/>
          </a:xfrm>
          <a:prstGeom prst="straightConnector1">
            <a:avLst/>
          </a:prstGeom>
          <a:ln w="1905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6078596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0D5DBD64-FEE7-43B7-8075-A52D401F48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p:oleObj spid="_x0000_s47127" name="Слайд think-cell" r:id="rId4" imgW="360" imgH="360" progId="">
              <p:embed/>
            </p:oleObj>
          </a:graphicData>
        </a:graphic>
      </p:graphicFrame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xmlns="" id="{182AB73D-4527-4EFB-B18B-19958B1226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627795679"/>
              </p:ext>
            </p:extLst>
          </p:nvPr>
        </p:nvGraphicFramePr>
        <p:xfrm>
          <a:off x="90152" y="551483"/>
          <a:ext cx="8995898" cy="4398560"/>
        </p:xfrm>
        <a:graphic>
          <a:graphicData uri="http://schemas.openxmlformats.org/drawingml/2006/table">
            <a:tbl>
              <a:tblPr/>
              <a:tblGrid>
                <a:gridCol w="339583">
                  <a:extLst>
                    <a:ext uri="{9D8B030D-6E8A-4147-A177-3AD203B41FA5}">
                      <a16:colId xmlns:a16="http://schemas.microsoft.com/office/drawing/2014/main" xmlns="" val="2105245776"/>
                    </a:ext>
                  </a:extLst>
                </a:gridCol>
                <a:gridCol w="1727295">
                  <a:extLst>
                    <a:ext uri="{9D8B030D-6E8A-4147-A177-3AD203B41FA5}">
                      <a16:colId xmlns:a16="http://schemas.microsoft.com/office/drawing/2014/main" xmlns="" val="770591833"/>
                    </a:ext>
                  </a:extLst>
                </a:gridCol>
                <a:gridCol w="4178103">
                  <a:extLst>
                    <a:ext uri="{9D8B030D-6E8A-4147-A177-3AD203B41FA5}">
                      <a16:colId xmlns:a16="http://schemas.microsoft.com/office/drawing/2014/main" xmlns="" val="2489816907"/>
                    </a:ext>
                  </a:extLst>
                </a:gridCol>
                <a:gridCol w="1266947">
                  <a:extLst>
                    <a:ext uri="{9D8B030D-6E8A-4147-A177-3AD203B41FA5}">
                      <a16:colId xmlns:a16="http://schemas.microsoft.com/office/drawing/2014/main" xmlns="" val="3165220318"/>
                    </a:ext>
                  </a:extLst>
                </a:gridCol>
                <a:gridCol w="908177">
                  <a:extLst>
                    <a:ext uri="{9D8B030D-6E8A-4147-A177-3AD203B41FA5}">
                      <a16:colId xmlns:a16="http://schemas.microsoft.com/office/drawing/2014/main" xmlns="" val="2567707944"/>
                    </a:ext>
                  </a:extLst>
                </a:gridCol>
                <a:gridCol w="575793">
                  <a:extLst>
                    <a:ext uri="{9D8B030D-6E8A-4147-A177-3AD203B41FA5}">
                      <a16:colId xmlns:a16="http://schemas.microsoft.com/office/drawing/2014/main" xmlns="" val="2554524722"/>
                    </a:ext>
                  </a:extLst>
                </a:gridCol>
              </a:tblGrid>
              <a:tr h="2457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ага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звание шага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исание шага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езультат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ледую-щий</a:t>
                      </a: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аг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30541492"/>
                  </a:ext>
                </a:extLst>
              </a:tr>
              <a:tr h="7131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убликация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на сайте министерства образования </a:t>
                      </a:r>
                      <a:r>
                        <a:rPr lang="en-US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аратовской области </a:t>
                      </a:r>
                      <a:r>
                        <a:rPr lang="en-US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minobr.saratov.gov.ru) 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разделе «Целевое обучение» потребности в специалистах для заключения договоров о целевом обучении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1 июня п</a:t>
                      </a: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бликация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на сайте министерства образования </a:t>
                      </a:r>
                      <a:r>
                        <a:rPr lang="en-US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аратовской области </a:t>
                      </a:r>
                      <a:r>
                        <a:rPr lang="en-US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minobr.saratov.gov.ru) 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разделе «Целевое обучение» потребности в специалистах для заключения договоров о целевом обучении в разрезе муниципальных районов (городских округов) области и по отраслям (сферам деятельности) по данным, предоставленным в уполномоченный орган (министерство образования Саратовской области)</a:t>
                      </a:r>
                      <a:endParaRPr lang="ru-RU" sz="8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бор гражданином, желающим поступить в ВУЗ на условиях целевого обучения, направления подготовки и специальности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Министерство образования Саратовской области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2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22980674"/>
                  </a:ext>
                </a:extLst>
              </a:tr>
              <a:tr h="5942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нсультирование  граждан  по вопросам целевого обучения в ВУЗах  Саратовской области</a:t>
                      </a:r>
                      <a:endParaRPr lang="ru-RU" sz="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Консультирование граждан по </a:t>
                      </a: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просам целевого обучения в ВУЗах  Саратовской области </a:t>
                      </a:r>
                      <a:r>
                        <a:rPr lang="ru-RU" sz="8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осуществляется в рабочие дни (понедельник-четверг с 9.00 до 18.00, пятница с 9.00</a:t>
                      </a:r>
                      <a:r>
                        <a:rPr lang="ru-RU" sz="8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до 17.00, перерыв – с 13.00 до 13.45) специалистами, занимающимися  организацией целевого обучения, по телефону </a:t>
                      </a: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 845-2 (28-24-60)</a:t>
                      </a:r>
                      <a:endParaRPr lang="ru-RU" sz="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нсультативная помощь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гражданам в </a:t>
                      </a:r>
                      <a:r>
                        <a:rPr lang="ru-RU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уплении в ВУЗы Саратовской области на условиях целевого обучения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Министерство образования Саратовской области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3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72091049"/>
                  </a:ext>
                </a:extLst>
              </a:tr>
              <a:tr h="9508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Подача документов в уполномоченный</a:t>
                      </a:r>
                      <a:r>
                        <a:rPr lang="ru-RU" sz="8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исполнительный орган Саратовской области - министерство образования  Саратовской области (далее – Уполномоченный орган)</a:t>
                      </a:r>
                      <a:endParaRPr lang="ru-RU" sz="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8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Документы предоставляются с 1 июня по </a:t>
                      </a:r>
                      <a:r>
                        <a:rPr lang="ru-RU" sz="8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5 июля </a:t>
                      </a:r>
                      <a:r>
                        <a:rPr lang="ru-RU" sz="8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в рабочие дни (понедельник-четверг с 9.00 до 18.00, пятница с 9.00 до 17.00, перерыв – с 13.00 до 13.45) по адресу: г. Саратов, ул. Соляная, 15, </a:t>
                      </a:r>
                      <a:r>
                        <a:rPr lang="ru-RU" sz="800" b="1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каб</a:t>
                      </a:r>
                      <a:r>
                        <a:rPr lang="ru-RU" sz="8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. 106 </a:t>
                      </a: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в соответствии с перечнем документов, согласно приложению 1.</a:t>
                      </a:r>
                    </a:p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Документы могут быть представлены лично заявителем; представителем, полномочия которого удостоверены нотариально; почтовым отправлением - заверенные в установленном порядке. Документы, направленные по электронной почте к рассмотрению не принимаются. </a:t>
                      </a:r>
                    </a:p>
                    <a:p>
                      <a:pPr marL="0" algn="l" defTabSz="914400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Документы могут быть представлены как в подлинниках, так и в копиях, заверенных в установленном порядке, без предоставления их подлинников</a:t>
                      </a: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Вынесение документов на рассмотрение</a:t>
                      </a: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межведомственной комиссии 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Гражданин, подающий документы на целевое обучение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4,</a:t>
                      </a: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5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21222120"/>
                  </a:ext>
                </a:extLst>
              </a:tr>
              <a:tr h="5942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 5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смотрение на межведомственной комиссии документов, 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ных в Уполномоченный орган</a:t>
                      </a:r>
                      <a:endParaRPr lang="ru-RU" sz="8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6</a:t>
                      </a: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юля заседания межведомственной комиссии, подписание протокола. Утверждение  </a:t>
                      </a: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юля списка лиц для получения направления на целевое обучение приказом Уполномоченного органа, публикация утвержденного списка на сайте </a:t>
                      </a: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minobr.saratov.gov.ru </a:t>
                      </a: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разделе «Целевое обучение»</a:t>
                      </a: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ирование граждан  о списке лиц, получающих направления на целевое обучение</a:t>
                      </a:r>
                      <a:endParaRPr lang="ru-RU" sz="8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жведомствен-ная</a:t>
                      </a: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комиссия, Министерство образования области</a:t>
                      </a: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8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59084029"/>
                  </a:ext>
                </a:extLst>
              </a:tr>
              <a:tr h="4754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дача целевых направлений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полномоченным органом  </a:t>
                      </a:r>
                      <a:r>
                        <a:rPr lang="ru-RU" sz="8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осуществляется выдача целевых направлений с 1</a:t>
                      </a:r>
                      <a:r>
                        <a:rPr lang="en-US" sz="8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ru-RU" sz="8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по 23 июля включительно </a:t>
                      </a:r>
                      <a:r>
                        <a:rPr lang="ru-RU" sz="800" b="1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(в рабочие дни с 9.00 до 17.00, в выходные дни с 10.00 до 15.00 </a:t>
                      </a:r>
                      <a:r>
                        <a:rPr lang="ru-RU" sz="8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по адресу: г. Саратов, ул. Соляная, 15, </a:t>
                      </a:r>
                      <a:r>
                        <a:rPr lang="ru-RU" sz="800" b="1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каб</a:t>
                      </a:r>
                      <a:r>
                        <a:rPr lang="ru-RU" sz="800" b="1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. 106).</a:t>
                      </a: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Целевые направления выдаются лично абитуриенту при предъявлении документа, удостоверяющего личность 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лучение абитуриентами целевых направлений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инистерство образования области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7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87646484"/>
                  </a:ext>
                </a:extLst>
              </a:tr>
              <a:tr h="23771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ие целевых договоров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С 1</a:t>
                      </a:r>
                      <a:r>
                        <a:rPr lang="en-US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по 23 июля включительно гражданин, получивший целевое направление, заключает целевой договор с заказчиком целевого обучения (работодателем) 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ие целевого договора с работодателем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Гражданин, получивший целевое направление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4954665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оставление целевых договоров в приемные комиссии ВУЗов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аратовской области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С 1</a:t>
                      </a:r>
                      <a:r>
                        <a:rPr lang="en-US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ru-RU" sz="800" kern="1200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Open Sans" panose="020B0606030504020204"/>
                          <a:cs typeface="Times New Roman" panose="02020603050405020304" pitchFamily="18" charset="0"/>
                        </a:rPr>
                        <a:t> по 25 июля включительно абитуриент предоставляет заключенный с работодателем целевой договор </a:t>
                      </a:r>
                      <a:r>
                        <a:rPr lang="ru-RU" sz="8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риемные комиссии ВУЗов</a:t>
                      </a:r>
                      <a:r>
                        <a:rPr lang="ru-RU" sz="8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аратовской области</a:t>
                      </a:r>
                      <a:endParaRPr lang="ru-RU" sz="8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l" fontAlgn="b"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упление в ВУЗ на условиях целевого обучения</a:t>
                      </a: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4702">
                <a:tc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b"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xmlns="" id="{15B13D3F-7158-4024-BEC4-69FC81B0F6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</p:spPr>
        <p:txBody>
          <a:bodyPr/>
          <a:lstStyle/>
          <a:p>
            <a:fld id="{EBA60C36-6C0B-4825-AF9C-32A916E7E83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360797" y="226613"/>
            <a:ext cx="363773" cy="244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ЦП</a:t>
            </a:r>
            <a:endParaRPr lang="ru-RU" sz="1200" dirty="0">
              <a:solidFill>
                <a:schemeClr val="tx1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AAA89A31-AE99-4E94-922F-C0FAC6FBF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373" y="27217"/>
            <a:ext cx="8045499" cy="307637"/>
          </a:xfrm>
        </p:spPr>
        <p:txBody>
          <a:bodyPr vert="horz">
            <a:noAutofit/>
          </a:bodyPr>
          <a:lstStyle/>
          <a:p>
            <a:pPr algn="ctr"/>
            <a:r>
              <a:rPr lang="ru-RU" sz="900" b="1" dirty="0"/>
              <a:t>Клиентский путь </a:t>
            </a:r>
            <a:r>
              <a:rPr lang="ru-RU" sz="900" b="1" dirty="0" smtClean="0"/>
              <a:t/>
            </a:r>
            <a:br>
              <a:rPr lang="ru-RU" sz="900" b="1" dirty="0" smtClean="0"/>
            </a:br>
            <a:r>
              <a:rPr lang="ru-RU" sz="900" b="1" dirty="0" smtClean="0"/>
              <a:t>Порядок действий для поступления на целевое обучение в ВУЗах, расположенных на территории Саратовской области</a:t>
            </a:r>
            <a:endParaRPr lang="ru-RU" sz="9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306E41D3-5E72-4F62-A7AC-E2639CFB8A4F}"/>
              </a:ext>
            </a:extLst>
          </p:cNvPr>
          <p:cNvSpPr txBox="1"/>
          <p:nvPr/>
        </p:nvSpPr>
        <p:spPr>
          <a:xfrm>
            <a:off x="266392" y="293319"/>
            <a:ext cx="8101409" cy="23852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ru-RU" sz="1100" b="1" dirty="0">
                <a:latin typeface="DIN Pro Regular" panose="020B0504020101020102" pitchFamily="34" charset="0"/>
                <a:ea typeface="Open Sans" pitchFamily="2" charset="0"/>
                <a:cs typeface="DIN Pro Regular" panose="020B0504020101020102" pitchFamily="34" charset="0"/>
              </a:rPr>
              <a:t>Клиентская группа: </a:t>
            </a:r>
            <a:r>
              <a:rPr lang="ru-RU" sz="1100" dirty="0" smtClean="0">
                <a:latin typeface="DIN Pro Regular" panose="020B0504020101020102" pitchFamily="34" charset="0"/>
                <a:ea typeface="Open Sans" pitchFamily="2" charset="0"/>
                <a:cs typeface="DIN Pro Regular" panose="020B0504020101020102" pitchFamily="34" charset="0"/>
              </a:rPr>
              <a:t>гражданин, желающий поступить в ВУЗ на условиях целевого обучения</a:t>
            </a:r>
            <a:endParaRPr lang="ru-RU" sz="1100" dirty="0">
              <a:latin typeface="DIN Pro Regular" panose="020B0504020101020102" pitchFamily="34" charset="0"/>
              <a:ea typeface="Open Sans" pitchFamily="2" charset="0"/>
              <a:cs typeface="DIN Pro Regular" panose="020B0504020101020102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95849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Прямоугольник 25"/>
          <p:cNvSpPr/>
          <p:nvPr/>
        </p:nvSpPr>
        <p:spPr>
          <a:xfrm>
            <a:off x="4642834" y="352022"/>
            <a:ext cx="4501166" cy="4310130"/>
          </a:xfrm>
          <a:prstGeom prst="rect">
            <a:avLst/>
          </a:prstGeom>
          <a:solidFill>
            <a:schemeClr val="bg1">
              <a:lumMod val="85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0" y="354169"/>
            <a:ext cx="4649273" cy="4314423"/>
          </a:xfrm>
          <a:prstGeom prst="rect">
            <a:avLst/>
          </a:prstGeom>
          <a:solidFill>
            <a:schemeClr val="tx2">
              <a:lumMod val="40000"/>
              <a:lumOff val="60000"/>
              <a:alpha val="5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4AA797F5-DF60-45A1-B813-30EAB6B768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p:oleObj spid="_x0000_s80898" name="Слайд think-cell" r:id="rId4" imgW="360" imgH="360" progId="">
              <p:embed/>
            </p:oleObj>
          </a:graphicData>
        </a:graphic>
      </p:graphicFrame>
      <p:sp>
        <p:nvSpPr>
          <p:cNvPr id="28" name="Заголовок 1">
            <a:extLst>
              <a:ext uri="{FF2B5EF4-FFF2-40B4-BE49-F238E27FC236}">
                <a16:creationId xmlns:a16="http://schemas.microsoft.com/office/drawing/2014/main" xmlns="" id="{AAA89A31-AE99-4E94-922F-C0FAC6FBF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4934" y="0"/>
            <a:ext cx="8045499" cy="307637"/>
          </a:xfrm>
        </p:spPr>
        <p:txBody>
          <a:bodyPr vert="horz">
            <a:noAutofit/>
          </a:bodyPr>
          <a:lstStyle/>
          <a:p>
            <a:pPr algn="ctr"/>
            <a:r>
              <a:rPr lang="ru-RU" sz="900" b="1" dirty="0" smtClean="0"/>
              <a:t/>
            </a:r>
            <a:br>
              <a:rPr lang="ru-RU" sz="900" b="1" dirty="0" smtClean="0"/>
            </a:br>
            <a:r>
              <a:rPr lang="ru-RU" sz="900" b="1" dirty="0" smtClean="0"/>
              <a:t>Порядок действий </a:t>
            </a:r>
            <a:br>
              <a:rPr lang="ru-RU" sz="900" b="1" dirty="0" smtClean="0"/>
            </a:br>
            <a:r>
              <a:rPr lang="ru-RU" sz="900" b="1" dirty="0" smtClean="0"/>
              <a:t>для  абитуриента, поступающего в ВУЗ на условиях целевого обучения</a:t>
            </a:r>
            <a:endParaRPr lang="ru-RU" sz="900" b="1" dirty="0"/>
          </a:p>
        </p:txBody>
      </p:sp>
      <p:sp>
        <p:nvSpPr>
          <p:cNvPr id="40" name="Номер слайда 3">
            <a:extLst>
              <a:ext uri="{FF2B5EF4-FFF2-40B4-BE49-F238E27FC236}">
                <a16:creationId xmlns:a16="http://schemas.microsoft.com/office/drawing/2014/main" xmlns="" id="{EA9CC659-5372-4426-82F8-87DEF66B91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</p:spPr>
        <p:txBody>
          <a:bodyPr/>
          <a:lstStyle/>
          <a:p>
            <a:fld id="{EBA60C36-6C0B-4825-AF9C-32A916E7E83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8360797" y="226613"/>
            <a:ext cx="363773" cy="244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ЦП</a:t>
            </a:r>
            <a:endParaRPr lang="ru-RU" sz="1200" dirty="0">
              <a:solidFill>
                <a:schemeClr val="tx1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09091" y="405695"/>
            <a:ext cx="3812147" cy="598868"/>
          </a:xfrm>
          <a:prstGeom prst="rect">
            <a:avLst/>
          </a:prstGeom>
          <a:solidFill>
            <a:schemeClr val="accent4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Абитуриент, поступающий по результатам ЕГЭ</a:t>
            </a:r>
            <a:r>
              <a:rPr lang="ru-RU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  </a:t>
            </a:r>
            <a:r>
              <a:rPr lang="ru-RU" sz="1200" i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(действуют 4 года)</a:t>
            </a:r>
            <a:endParaRPr lang="ru-RU" sz="1200" i="1" dirty="0">
              <a:solidFill>
                <a:schemeClr val="tx1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836018" y="416441"/>
            <a:ext cx="4192072" cy="598868"/>
          </a:xfrm>
          <a:prstGeom prst="rect">
            <a:avLst/>
          </a:prstGeom>
          <a:solidFill>
            <a:schemeClr val="accent4">
              <a:lumMod val="60000"/>
              <a:lumOff val="4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Абитуриент, поступающий по результатам вступительных испытаний, проводимых ВУЗом  </a:t>
            </a:r>
            <a:r>
              <a:rPr lang="ru-RU" sz="1200" i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(после обучения в СПО)</a:t>
            </a:r>
            <a:endParaRPr lang="ru-RU" sz="1200" i="1" dirty="0">
              <a:solidFill>
                <a:schemeClr val="tx1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35228" y="1300772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1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69323" y="1126912"/>
            <a:ext cx="3625404" cy="60530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Выбор интересующей вакансии </a:t>
            </a:r>
            <a:r>
              <a:rPr lang="ru-RU" sz="10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для поступления на условиях целевого обучения из опубликованного перечня вакансий</a:t>
            </a:r>
            <a:r>
              <a:rPr lang="ru-RU" sz="1000" dirty="0" smtClean="0">
                <a:latin typeface="PT Astra Serif" pitchFamily="18" charset="-52"/>
                <a:ea typeface="PT Astra Serif" pitchFamily="18" charset="-52"/>
              </a:rPr>
              <a:t> 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(</a:t>
            </a:r>
            <a:r>
              <a:rPr lang="en-US" sz="1000" b="1" i="1" dirty="0" smtClean="0">
                <a:solidFill>
                  <a:schemeClr val="accent1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minobr.saratov.gov.ru 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, раздел «Целевое обучение»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88802" y="1240677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1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479964" y="1073256"/>
            <a:ext cx="3561006" cy="54949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Выбор интересующей вакансии </a:t>
            </a:r>
            <a:r>
              <a:rPr lang="ru-RU" sz="10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для поступления на условиях целевого обучения из опубликованного перечня вакансий</a:t>
            </a:r>
            <a:r>
              <a:rPr lang="ru-RU" sz="1000" dirty="0" smtClean="0">
                <a:latin typeface="PT Astra Serif" pitchFamily="18" charset="-52"/>
                <a:ea typeface="PT Astra Serif" pitchFamily="18" charset="-52"/>
              </a:rPr>
              <a:t> 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(</a:t>
            </a:r>
            <a:r>
              <a:rPr lang="en-US" sz="1000" b="1" i="1" dirty="0" smtClean="0">
                <a:solidFill>
                  <a:schemeClr val="accent1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minobr.saratov.gov.ru 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, раздел «Целевое обучение»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39520" y="1981211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2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873614" y="1800911"/>
            <a:ext cx="3627552" cy="97450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Предоставление  документов для конкурсного отбора на получение целевого направления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по адресу: г. Саратов, ул. Соляная, 15, </a:t>
            </a:r>
            <a:r>
              <a:rPr lang="ru-RU" sz="1000" dirty="0" err="1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каб</a:t>
            </a:r>
            <a:r>
              <a:rPr lang="ru-RU" sz="1000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. 106 в соответствии с перечнем документов, согласно приложению 1</a:t>
            </a:r>
          </a:p>
          <a:p>
            <a:pPr algn="ctr"/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(</a:t>
            </a:r>
            <a:r>
              <a:rPr lang="ru-RU" sz="1000" i="1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понедельник-четверг с 9.00 до 18.00, пятница с 9.00 до 17.00, перерыв – с 13.00 до 13.45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6595" y="1493964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до 1 июн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37290" y="1427430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до 1 июн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85989" y="4610638"/>
            <a:ext cx="8055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i="1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Консультирование  по телефону </a:t>
            </a:r>
            <a:r>
              <a:rPr lang="ru-RU" sz="1000" b="1" i="1" dirty="0" smtClean="0"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8 845-2 (28-24-60) </a:t>
            </a:r>
            <a:r>
              <a:rPr lang="ru-RU" sz="1000" b="1" i="1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в рабочие дни </a:t>
            </a:r>
          </a:p>
          <a:p>
            <a:pPr algn="ctr"/>
            <a:r>
              <a:rPr lang="ru-RU" sz="1000" i="1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(понедельник-четверг с 9.00 до 18.00, пятница с 9.00 до 17.00, перерыв – с 13.00 до 13.45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301" y="2167963"/>
            <a:ext cx="9551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с 1 по 5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756598" y="1824531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2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5458497" y="1669987"/>
            <a:ext cx="3588911" cy="91866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Предоставление  документов для конкурсного отбора на получение целевого направления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по адресу: г. Саратов, ул. Соляная, 15, </a:t>
            </a:r>
            <a:r>
              <a:rPr lang="ru-RU" sz="1000" dirty="0" err="1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каб</a:t>
            </a:r>
            <a:r>
              <a:rPr lang="ru-RU" sz="1000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. 106 в соответствии с перечнем документов, согласно приложению 1</a:t>
            </a:r>
          </a:p>
          <a:p>
            <a:pPr algn="ctr"/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(</a:t>
            </a:r>
            <a:r>
              <a:rPr lang="ru-RU" sz="1000" i="1" dirty="0" smtClean="0">
                <a:solidFill>
                  <a:srgbClr val="000000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понедельник-четверг с 9.00 до 18.00, пятница с 9.00 до 17.00, перерыв – с 13.00 до 13.45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608501" y="2011283"/>
            <a:ext cx="9551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с 1 по 5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39521" y="2876302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3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873616" y="2831222"/>
            <a:ext cx="3588914" cy="49798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Ознакомление с опубликованным списком лиц для получения целевых направлений</a:t>
            </a:r>
            <a:r>
              <a:rPr lang="ru-RU" sz="1000" b="1" dirty="0" smtClean="0">
                <a:latin typeface="PT Astra Serif" pitchFamily="18" charset="-52"/>
                <a:ea typeface="PT Astra Serif" pitchFamily="18" charset="-52"/>
              </a:rPr>
              <a:t> </a:t>
            </a:r>
          </a:p>
          <a:p>
            <a:pPr algn="ctr"/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(</a:t>
            </a:r>
            <a:r>
              <a:rPr lang="en-US" sz="1000" b="1" i="1" dirty="0" smtClean="0">
                <a:solidFill>
                  <a:schemeClr val="accent1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minobr.saratov.gov.ru 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, раздел «Целевое обучение»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00888" y="3069494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7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735133" y="2668110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3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469228" y="2623030"/>
            <a:ext cx="3588914" cy="47434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Ознакомление с опубликованным списком лиц для получения целевых направлений</a:t>
            </a:r>
            <a:r>
              <a:rPr lang="ru-RU" sz="1000" b="1" dirty="0" smtClean="0">
                <a:latin typeface="PT Astra Serif" pitchFamily="18" charset="-52"/>
                <a:ea typeface="PT Astra Serif" pitchFamily="18" charset="-52"/>
              </a:rPr>
              <a:t> </a:t>
            </a:r>
          </a:p>
          <a:p>
            <a:pPr algn="ctr"/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(</a:t>
            </a:r>
            <a:r>
              <a:rPr lang="en-US" sz="1000" b="1" i="1" dirty="0" smtClean="0">
                <a:solidFill>
                  <a:schemeClr val="accent1"/>
                </a:solidFill>
                <a:latin typeface="PT Astra Serif" pitchFamily="18" charset="-52"/>
                <a:ea typeface="PT Astra Serif" pitchFamily="18" charset="-52"/>
                <a:cs typeface="Times New Roman" panose="02020603050405020304" pitchFamily="18" charset="0"/>
              </a:rPr>
              <a:t>minobr.saratov.gov.ru 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, раздел «Целевое обучение»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696500" y="2861302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7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156694" y="3434386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890789" y="3389306"/>
            <a:ext cx="3588914" cy="49798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олучение целевых направлений</a:t>
            </a:r>
            <a:r>
              <a:rPr lang="ru-RU" sz="1000" b="1" dirty="0" smtClean="0">
                <a:latin typeface="PT Astra Serif" pitchFamily="18" charset="-52"/>
                <a:ea typeface="PT Astra Serif" pitchFamily="18" charset="-52"/>
              </a:rPr>
              <a:t> 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о адресу: г. Саратов, ул. Соляная, 15, </a:t>
            </a:r>
            <a:r>
              <a:rPr lang="ru-RU" sz="1000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каб</a:t>
            </a: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. 106 (в рабочие дни с 9.00 до 17.00, в выходные дни с 10.00 до 15.00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18061" y="3627578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10-23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752306" y="3303451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4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460642" y="3767091"/>
            <a:ext cx="3588914" cy="42497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олучение целевых направлений</a:t>
            </a:r>
            <a:r>
              <a:rPr lang="ru-RU" sz="1000" b="1" dirty="0" smtClean="0">
                <a:latin typeface="PT Astra Serif" pitchFamily="18" charset="-52"/>
                <a:ea typeface="PT Astra Serif" pitchFamily="18" charset="-52"/>
              </a:rPr>
              <a:t> </a:t>
            </a:r>
          </a:p>
          <a:p>
            <a:pPr algn="ctr"/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о адресу: г. Саратов, ул. Соляная, 15, </a:t>
            </a:r>
            <a:r>
              <a:rPr lang="ru-RU" sz="1000" dirty="0" err="1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каб</a:t>
            </a:r>
            <a:r>
              <a:rPr lang="ru-RU" sz="1000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. 106 (в рабочие дни с 9.00 до 17.00, в выходные дни с 10.00 до 15.00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5473533" y="3078052"/>
            <a:ext cx="1107583" cy="733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до 10 </a:t>
            </a:r>
            <a:r>
              <a:rPr lang="ru-RU" sz="1000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июля </a:t>
            </a:r>
          </a:p>
          <a:p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(для </a:t>
            </a:r>
            <a:r>
              <a:rPr lang="ru-RU" sz="1000" i="1" dirty="0" err="1" smtClean="0">
                <a:latin typeface="PT Astra Serif" pitchFamily="18" charset="-52"/>
                <a:ea typeface="PT Astra Serif" pitchFamily="18" charset="-52"/>
              </a:rPr>
              <a:t>творч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. специальностей </a:t>
            </a:r>
          </a:p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до 7 июля</a:t>
            </a:r>
            <a:r>
              <a:rPr lang="ru-RU" sz="1000" i="1" dirty="0" smtClean="0">
                <a:latin typeface="PT Astra Serif" pitchFamily="18" charset="-52"/>
                <a:ea typeface="PT Astra Serif" pitchFamily="18" charset="-52"/>
              </a:rPr>
              <a:t>)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160987" y="3973133"/>
            <a:ext cx="624624" cy="30265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и 5, 6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895082" y="3953829"/>
            <a:ext cx="3588914" cy="49798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Заключение целевых договоров с работодателями. </a:t>
            </a:r>
          </a:p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PT Astra Serif" pitchFamily="18" charset="-52"/>
                <a:cs typeface="Times New Roman" panose="02020603050405020304" pitchFamily="18" charset="0"/>
              </a:rPr>
              <a:t>Подача документов в приемные комиссии ВУЗов</a:t>
            </a:r>
            <a:endParaRPr lang="ru-RU" sz="1000" b="1" dirty="0" smtClean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83717" y="4250056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10-23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730841" y="4256464"/>
            <a:ext cx="626770" cy="26185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и 6, 7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5464936" y="4247876"/>
            <a:ext cx="3588914" cy="356314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Заключение целевых договоров с работодателями. </a:t>
            </a:r>
          </a:p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PT Astra Serif" pitchFamily="18" charset="-52"/>
                <a:cs typeface="Times New Roman" panose="02020603050405020304" pitchFamily="18" charset="0"/>
              </a:rPr>
              <a:t>Подача документов в приемные комиссии ВУЗов</a:t>
            </a:r>
            <a:endParaRPr lang="ru-RU" sz="1000" b="1" dirty="0" smtClean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653571" y="4460396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17-20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737280" y="3777828"/>
            <a:ext cx="637504" cy="22538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Шаг 5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4698647" y="3971020"/>
            <a:ext cx="869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i="1" dirty="0" smtClean="0">
                <a:solidFill>
                  <a:srgbClr val="C00000"/>
                </a:solidFill>
                <a:latin typeface="PT Astra Serif" pitchFamily="18" charset="-52"/>
                <a:ea typeface="PT Astra Serif" pitchFamily="18" charset="-52"/>
              </a:rPr>
              <a:t>10-16 июля</a:t>
            </a:r>
            <a:endParaRPr lang="ru-RU" sz="1000" b="1" i="1" dirty="0">
              <a:solidFill>
                <a:srgbClr val="C00000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561786" y="3136007"/>
            <a:ext cx="2485622" cy="585988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Запись на вступительные испытания в приемных комиссиях ВУЗов</a:t>
            </a:r>
            <a:endParaRPr lang="ru-RU" sz="1000" i="1" dirty="0">
              <a:latin typeface="PT Astra Serif" pitchFamily="18" charset="-52"/>
              <a:ea typeface="PT Astra Serif" pitchFamily="18" charset="-52"/>
            </a:endParaRPr>
          </a:p>
        </p:txBody>
      </p:sp>
      <p:pic>
        <p:nvPicPr>
          <p:cNvPr id="56" name="Рисунок 55" descr="O:\Леонтьева Л.П\человечек\9.jpg"/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0355" y="907961"/>
            <a:ext cx="472225" cy="353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Рисунок 56" descr="O:\Леонтьева Л.П\человечек\9.jpg"/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876800" y="854297"/>
            <a:ext cx="472225" cy="353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607859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xmlns="" id="{0D5DBD64-FEE7-43B7-8075-A52D401F48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p:oleObj spid="_x0000_s62466" name="Слайд think-cell" r:id="rId4" imgW="360" imgH="360" progId="">
              <p:embed/>
            </p:oleObj>
          </a:graphicData>
        </a:graphic>
      </p:graphicFrame>
      <p:sp>
        <p:nvSpPr>
          <p:cNvPr id="6" name="Номер слайда 3">
            <a:extLst>
              <a:ext uri="{FF2B5EF4-FFF2-40B4-BE49-F238E27FC236}">
                <a16:creationId xmlns:a16="http://schemas.microsoft.com/office/drawing/2014/main" xmlns="" id="{15B13D3F-7158-4024-BEC4-69FC81B0F6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924511"/>
            <a:ext cx="2057400" cy="273844"/>
          </a:xfrm>
        </p:spPr>
        <p:txBody>
          <a:bodyPr/>
          <a:lstStyle/>
          <a:p>
            <a:fld id="{EBA60C36-6C0B-4825-AF9C-32A916E7E83D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8360797" y="226613"/>
            <a:ext cx="363773" cy="2445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  <a:latin typeface="PT Astra Serif" pitchFamily="18" charset="-52"/>
                <a:ea typeface="PT Astra Serif" pitchFamily="18" charset="-52"/>
              </a:rPr>
              <a:t>ЦП</a:t>
            </a:r>
            <a:endParaRPr lang="ru-RU" sz="1200" dirty="0">
              <a:solidFill>
                <a:schemeClr val="tx1"/>
              </a:solidFill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8790" y="482970"/>
            <a:ext cx="9015210" cy="46628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документ, удостоверяющий личность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solidFill>
                  <a:schemeClr val="accent2"/>
                </a:solidFill>
                <a:latin typeface="PT Astra Serif" pitchFamily="18" charset="-52"/>
                <a:ea typeface="PT Astra Serif" pitchFamily="18" charset="-52"/>
              </a:rPr>
              <a:t>согласие законного представителя – родителя, усыновителя или попечителя несовершеннолетнего гражданина, оформленное в письменной форме, на участие в отборе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(за исключением случаев, когда гражданин приобрел дееспособность в полном объеме в соответствии с законодательством Российской Федерации) по форме согласно приложению № 2 приказу министерства образования Саратовской области от 05.05.2023 № 778 (опубликован на сайте </a:t>
            </a:r>
            <a:r>
              <a:rPr lang="en-US" sz="1100" b="1" i="1" dirty="0" smtClean="0">
                <a:solidFill>
                  <a:schemeClr val="accent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obr.saratov.gov.ru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, раздел «Целевое обучение»)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согласие на обработку персональных данных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по форме согласно приложению № 3 к приказу министерства образования Саратовской области от 05.05.2023 № 778 (опубликован на сайте </a:t>
            </a:r>
            <a:r>
              <a:rPr lang="en-US" sz="1100" b="1" i="1" dirty="0" smtClean="0">
                <a:solidFill>
                  <a:schemeClr val="accent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minobr.saratov.gov.ru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, раздел «Целевое обучение»)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solidFill>
                  <a:schemeClr val="accent2"/>
                </a:solidFill>
                <a:latin typeface="PT Astra Serif" pitchFamily="18" charset="-52"/>
                <a:ea typeface="PT Astra Serif" pitchFamily="18" charset="-52"/>
              </a:rPr>
              <a:t>согласие на обработку персональных данных, разрешенных субъектом персональных данных для распространения</a:t>
            </a:r>
            <a:r>
              <a:rPr lang="ru-RU" sz="1100" b="1" dirty="0" smtClean="0">
                <a:solidFill>
                  <a:schemeClr val="accent1"/>
                </a:solidFill>
                <a:latin typeface="PT Astra Serif" pitchFamily="18" charset="-52"/>
                <a:ea typeface="PT Astra Serif" pitchFamily="18" charset="-52"/>
              </a:rPr>
              <a:t>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по форме согласно приложению № 4 к приказу министерства образования области от 05.05.2023 № 778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сведения об отсутствии судимости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(в случаях, если федеральным законодательством установлен запрет на занятие определенными видами деятельности для лиц, имеющих судимость)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solidFill>
                  <a:schemeClr val="accent2"/>
                </a:solidFill>
                <a:latin typeface="PT Astra Serif" pitchFamily="18" charset="-52"/>
                <a:ea typeface="PT Astra Serif" pitchFamily="18" charset="-52"/>
              </a:rPr>
              <a:t>сведения о результатах освоения гражданином образовательных программ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для поступающих на обучение по имеющим государственную аккредитацию образовательным программам высшего образования (программам </a:t>
            </a:r>
            <a:r>
              <a:rPr lang="ru-RU" sz="1100" b="1" dirty="0" err="1" smtClean="0">
                <a:latin typeface="PT Astra Serif" pitchFamily="18" charset="-52"/>
                <a:ea typeface="PT Astra Serif" pitchFamily="18" charset="-52"/>
              </a:rPr>
              <a:t>бакалавриата</a:t>
            </a: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, </a:t>
            </a:r>
            <a:r>
              <a:rPr lang="ru-RU" sz="1100" b="1" dirty="0" err="1" smtClean="0">
                <a:latin typeface="PT Astra Serif" pitchFamily="18" charset="-52"/>
                <a:ea typeface="PT Astra Serif" pitchFamily="18" charset="-52"/>
              </a:rPr>
              <a:t>программам</a:t>
            </a: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 </a:t>
            </a:r>
            <a:r>
              <a:rPr lang="ru-RU" sz="1100" b="1" dirty="0" err="1" smtClean="0">
                <a:latin typeface="PT Astra Serif" pitchFamily="18" charset="-52"/>
                <a:ea typeface="PT Astra Serif" pitchFamily="18" charset="-52"/>
              </a:rPr>
              <a:t>специалитета</a:t>
            </a: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) –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аттестат о среднем общем образовании, или диплом о среднем профессиональном образовании и приложение к нему, или справку об обучении или периоде обучения, включающую информацию об успеваемости, по образцу, самостоятельно устанавливаемому организацией, осуществляющей образовательную деятельность (далее – справка об обучении), в случае, если получение среднего общего образования или среднего профессионального образования не завершено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solidFill>
                  <a:schemeClr val="accent2"/>
                </a:solidFill>
                <a:latin typeface="PT Astra Serif" pitchFamily="18" charset="-52"/>
                <a:ea typeface="PT Astra Serif" pitchFamily="18" charset="-52"/>
              </a:rPr>
              <a:t>для поступающих на обучение по имеющим государственную аккредитацию образовательным программам высшего образования (программам магистратуры)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– диплом бакалавра и приложение к нему, или диплом специалиста, подтверждающий присвоение квалификации «дипломированный специалист», и приложение к нему, или справку об обучении в случае, если получение высшего образования по программе </a:t>
            </a:r>
            <a:r>
              <a:rPr lang="ru-RU" sz="1100" dirty="0" err="1" smtClean="0">
                <a:latin typeface="PT Astra Serif" pitchFamily="18" charset="-52"/>
                <a:ea typeface="PT Astra Serif" pitchFamily="18" charset="-52"/>
              </a:rPr>
              <a:t>бакалавриата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 не завершено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latin typeface="PT Astra Serif" pitchFamily="18" charset="-52"/>
                <a:ea typeface="PT Astra Serif" pitchFamily="18" charset="-52"/>
              </a:rPr>
              <a:t>для поступающих на обучение по образовательным программам высшего образования (программам подготовки научных и научно-педагогических кадров в аспирантуре)</a:t>
            </a:r>
            <a:r>
              <a:rPr lang="ru-RU" sz="1100" b="1" dirty="0" smtClean="0">
                <a:solidFill>
                  <a:schemeClr val="accent2"/>
                </a:solidFill>
                <a:latin typeface="PT Astra Serif" pitchFamily="18" charset="-52"/>
                <a:ea typeface="PT Astra Serif" pitchFamily="18" charset="-52"/>
              </a:rPr>
              <a:t> 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– диплом специалиста и приложение к нему, или диплом специалиста, подтверждающий присвоение квалификации «дипломированный специалист», и приложение к нему, или диплом магистра и приложение к нему, или справку об обучении в случае, если получение высшего образования по программе </a:t>
            </a:r>
            <a:r>
              <a:rPr lang="ru-RU" sz="1100" dirty="0" err="1" smtClean="0">
                <a:latin typeface="PT Astra Serif" pitchFamily="18" charset="-52"/>
                <a:ea typeface="PT Astra Serif" pitchFamily="18" charset="-52"/>
              </a:rPr>
              <a:t>специалитета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 или программе магистратуры не завершено</a:t>
            </a:r>
          </a:p>
          <a:p>
            <a:pPr>
              <a:buClr>
                <a:schemeClr val="accent2"/>
              </a:buClr>
              <a:buFont typeface="Wingdings" pitchFamily="2" charset="2"/>
              <a:buChar char="ü"/>
            </a:pPr>
            <a:r>
              <a:rPr lang="ru-RU" sz="1100" b="1" dirty="0" smtClean="0">
                <a:solidFill>
                  <a:schemeClr val="accent2"/>
                </a:solidFill>
                <a:latin typeface="PT Astra Serif" pitchFamily="18" charset="-52"/>
                <a:ea typeface="PT Astra Serif" pitchFamily="18" charset="-52"/>
              </a:rPr>
              <a:t>документы, подтверждающие получение результатов индивидуальных достижений</a:t>
            </a:r>
            <a:r>
              <a:rPr lang="ru-RU" sz="1100" dirty="0" smtClean="0">
                <a:latin typeface="PT Astra Serif" pitchFamily="18" charset="-52"/>
                <a:ea typeface="PT Astra Serif" pitchFamily="18" charset="-52"/>
              </a:rPr>
              <a:t> (при наличии)</a:t>
            </a:r>
            <a:endParaRPr lang="ru-RU" sz="1100" dirty="0">
              <a:latin typeface="PT Astra Serif" pitchFamily="18" charset="-52"/>
              <a:ea typeface="PT Astra Serif" pitchFamily="18" charset="-5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8259" y="141668"/>
            <a:ext cx="14424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2"/>
                </a:solidFill>
                <a:latin typeface="PT Astra Serif" pitchFamily="18" charset="-52"/>
                <a:ea typeface="PT Astra Serif" pitchFamily="18" charset="-52"/>
              </a:rPr>
              <a:t>Приложение № 1</a:t>
            </a:r>
            <a:endParaRPr lang="ru-RU" sz="1200" b="1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58344" y="0"/>
            <a:ext cx="68580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>
                <a:solidFill>
                  <a:schemeClr val="tx2"/>
                </a:solidFill>
                <a:latin typeface="Times New Roman" panose="02020603050405020304" pitchFamily="18" charset="0"/>
                <a:ea typeface="Open Sans" panose="020B0606030504020204"/>
                <a:cs typeface="Times New Roman" panose="02020603050405020304" pitchFamily="18" charset="0"/>
              </a:rPr>
              <a:t>ПЕРЕЧЕНЬ ДОКУМЕНТОВ В УПОЛНОМОЧЕННЫЙ ИСПОЛНИТЕЛЬНЫЙ ОРГАН САРАТОВСКОЙ ОБЛАСТИ - МИНИСТЕРСТВО ОБРАЗОВАНИЯ  САРАТОВСКОЙ ОБЛАСТИ ДЛЯ УЧАСТИЯ В КОНКУРСНОМ ОТБОРЕ НА ПОЛУЧЕНИЕ ЦЕЛЕВОГО НАПРАВЛЕНИЯ</a:t>
            </a:r>
            <a:endParaRPr lang="ru-RU" sz="11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9584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ц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66</TotalTime>
  <Words>1625</Words>
  <Application>Microsoft Office PowerPoint</Application>
  <PresentationFormat>Экран (16:9)</PresentationFormat>
  <Paragraphs>150</Paragraphs>
  <Slides>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Тема Office</vt:lpstr>
      <vt:lpstr>Слайд think-cell</vt:lpstr>
      <vt:lpstr>Слайд 1</vt:lpstr>
      <vt:lpstr>Клиентский путь  Порядок действий для поступления на целевое обучение в ВУЗах, расположенных на территории Саратовской области</vt:lpstr>
      <vt:lpstr>Клиентский путь  Порядок действий для поступления на целевое обучение в ВУЗах, расположенных на территории Саратовской области</vt:lpstr>
      <vt:lpstr> Порядок действий  для  абитуриента, поступающего в ВУЗ на условиях целевого обучения</vt:lpstr>
      <vt:lpstr>Слайд 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МЕР КЛИЕНТСКОГО ПУТИ «ПРЕДОСТАВЛЕНИЕ МЕСТА В ДЕТСКОМ САДУ»</dc:title>
  <dc:creator>79038</dc:creator>
  <cp:lastModifiedBy>M.Moiseenko</cp:lastModifiedBy>
  <cp:revision>143</cp:revision>
  <dcterms:modified xsi:type="dcterms:W3CDTF">2023-05-19T06:55:27Z</dcterms:modified>
</cp:coreProperties>
</file>